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6"/>
  </p:notesMasterIdLst>
  <p:sldIdLst>
    <p:sldId id="256" r:id="rId2"/>
    <p:sldId id="917" r:id="rId3"/>
    <p:sldId id="900" r:id="rId4"/>
    <p:sldId id="2135" r:id="rId5"/>
    <p:sldId id="2128" r:id="rId6"/>
    <p:sldId id="912" r:id="rId7"/>
    <p:sldId id="909" r:id="rId8"/>
    <p:sldId id="918" r:id="rId9"/>
    <p:sldId id="921" r:id="rId10"/>
    <p:sldId id="926" r:id="rId11"/>
    <p:sldId id="927" r:id="rId12"/>
    <p:sldId id="2132" r:id="rId13"/>
    <p:sldId id="2133" r:id="rId14"/>
    <p:sldId id="2134" r:id="rId15"/>
    <p:sldId id="923" r:id="rId16"/>
    <p:sldId id="2130" r:id="rId17"/>
    <p:sldId id="2131" r:id="rId18"/>
    <p:sldId id="920" r:id="rId19"/>
    <p:sldId id="901" r:id="rId20"/>
    <p:sldId id="924" r:id="rId21"/>
    <p:sldId id="2126" r:id="rId22"/>
    <p:sldId id="930" r:id="rId23"/>
    <p:sldId id="2124" r:id="rId24"/>
    <p:sldId id="2127" r:id="rId25"/>
    <p:sldId id="2129" r:id="rId26"/>
    <p:sldId id="2125" r:id="rId27"/>
    <p:sldId id="276" r:id="rId28"/>
    <p:sldId id="907" r:id="rId29"/>
    <p:sldId id="925" r:id="rId30"/>
    <p:sldId id="2123" r:id="rId31"/>
    <p:sldId id="915" r:id="rId32"/>
    <p:sldId id="899" r:id="rId33"/>
    <p:sldId id="287" r:id="rId34"/>
    <p:sldId id="299" r:id="rId35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D48A"/>
    <a:srgbClr val="E7D60D"/>
    <a:srgbClr val="FFDE02"/>
    <a:srgbClr val="F6F31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878"/>
    <p:restoredTop sz="94665"/>
  </p:normalViewPr>
  <p:slideViewPr>
    <p:cSldViewPr snapToGrid="0" snapToObjects="1">
      <p:cViewPr varScale="1">
        <p:scale>
          <a:sx n="67" d="100"/>
          <a:sy n="67" d="100"/>
        </p:scale>
        <p:origin x="228" y="4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6748C4A-1F52-3B41-9477-D3E4ED5B1F9A}" type="doc">
      <dgm:prSet loTypeId="urn:microsoft.com/office/officeart/2005/8/layout/pyramid1" loCatId="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1F009FC-6A3C-BB47-873E-5147286BECAF}">
      <dgm:prSet phldrT="[Text]" custT="1"/>
      <dgm:spPr>
        <a:gradFill rotWithShape="0">
          <a:gsLst>
            <a:gs pos="0">
              <a:srgbClr val="04D48A"/>
            </a:gs>
            <a:gs pos="50000">
              <a:srgbClr val="04D48A"/>
            </a:gs>
            <a:gs pos="100000">
              <a:schemeClr val="bg1"/>
            </a:gs>
          </a:gsLst>
        </a:gradFill>
        <a:ln w="25400">
          <a:solidFill>
            <a:schemeClr val="tx1">
              <a:alpha val="50000"/>
            </a:schemeClr>
          </a:solidFill>
        </a:ln>
        <a:effectLst>
          <a:outerShdw blurRad="342900" dist="38100" dir="5400000" algn="t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en-US" sz="2000" dirty="0">
            <a:solidFill>
              <a:schemeClr val="bg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latin typeface="ADAM.CG PRO" pitchFamily="2" charset="77"/>
          </a:endParaRPr>
        </a:p>
        <a:p>
          <a:endParaRPr lang="en-US" sz="2000" dirty="0">
            <a:solidFill>
              <a:schemeClr val="bg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latin typeface="ADAM.CG PRO" pitchFamily="2" charset="77"/>
          </a:endParaRPr>
        </a:p>
        <a:p>
          <a:r>
            <a:rPr lang="en-US" sz="3200" dirty="0" err="1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DAM.CG PRO" pitchFamily="2" charset="77"/>
            </a:rPr>
            <a:t>Syfte</a:t>
          </a:r>
          <a:endParaRPr lang="en-US" sz="3200" dirty="0">
            <a:solidFill>
              <a:schemeClr val="bg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latin typeface="ADAM.CG PRO" pitchFamily="2" charset="77"/>
          </a:endParaRPr>
        </a:p>
      </dgm:t>
    </dgm:pt>
    <dgm:pt modelId="{B6737589-D87D-0745-862C-0D9E7FEFC0AF}" type="parTrans" cxnId="{D876316A-227C-9742-B0D5-D7AD13ACA569}">
      <dgm:prSet/>
      <dgm:spPr/>
      <dgm:t>
        <a:bodyPr/>
        <a:lstStyle/>
        <a:p>
          <a:endParaRPr lang="en-US"/>
        </a:p>
      </dgm:t>
    </dgm:pt>
    <dgm:pt modelId="{3E448B47-6095-6044-A660-E70BEE74BD81}" type="sibTrans" cxnId="{D876316A-227C-9742-B0D5-D7AD13ACA569}">
      <dgm:prSet/>
      <dgm:spPr/>
      <dgm:t>
        <a:bodyPr/>
        <a:lstStyle/>
        <a:p>
          <a:endParaRPr lang="en-US"/>
        </a:p>
      </dgm:t>
    </dgm:pt>
    <dgm:pt modelId="{A9ED2279-F73F-F548-8A0C-ABFD2A5718AA}">
      <dgm:prSet phldrT="[Text]" custT="1"/>
      <dgm:spPr>
        <a:gradFill rotWithShape="0">
          <a:gsLst>
            <a:gs pos="0">
              <a:srgbClr val="04D48A"/>
            </a:gs>
            <a:gs pos="50000">
              <a:srgbClr val="04D48A"/>
            </a:gs>
            <a:gs pos="100000">
              <a:schemeClr val="bg1"/>
            </a:gs>
          </a:gsLst>
        </a:gradFill>
        <a:ln w="25400">
          <a:solidFill>
            <a:schemeClr val="tx1">
              <a:alpha val="50000"/>
            </a:schemeClr>
          </a:solidFill>
        </a:ln>
        <a:effectLst>
          <a:outerShdw blurRad="342900" dist="38100" dir="5400000" algn="t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sz="4000" dirty="0" err="1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DAM.CG PRO" pitchFamily="2" charset="77"/>
            </a:rPr>
            <a:t>Mål</a:t>
          </a:r>
          <a:endParaRPr lang="en-US" sz="4000" dirty="0">
            <a:solidFill>
              <a:schemeClr val="bg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latin typeface="ADAM.CG PRO" pitchFamily="2" charset="77"/>
          </a:endParaRPr>
        </a:p>
      </dgm:t>
    </dgm:pt>
    <dgm:pt modelId="{F13652E5-4177-ED48-B456-34E855C85BAC}" type="parTrans" cxnId="{1E9BECCB-28C0-6E48-8784-EC76AE2B6C55}">
      <dgm:prSet/>
      <dgm:spPr/>
      <dgm:t>
        <a:bodyPr/>
        <a:lstStyle/>
        <a:p>
          <a:endParaRPr lang="en-US"/>
        </a:p>
      </dgm:t>
    </dgm:pt>
    <dgm:pt modelId="{492788BD-600E-AF49-995D-2E40A71915BA}" type="sibTrans" cxnId="{1E9BECCB-28C0-6E48-8784-EC76AE2B6C55}">
      <dgm:prSet/>
      <dgm:spPr/>
      <dgm:t>
        <a:bodyPr/>
        <a:lstStyle/>
        <a:p>
          <a:endParaRPr lang="en-US"/>
        </a:p>
      </dgm:t>
    </dgm:pt>
    <dgm:pt modelId="{6E71B1EC-00BF-A14F-9B38-06CCCC878993}">
      <dgm:prSet phldrT="[Text]" custT="1"/>
      <dgm:spPr>
        <a:gradFill rotWithShape="0">
          <a:gsLst>
            <a:gs pos="0">
              <a:srgbClr val="04D48A"/>
            </a:gs>
            <a:gs pos="50000">
              <a:srgbClr val="04D48A"/>
            </a:gs>
            <a:gs pos="100000">
              <a:schemeClr val="bg1"/>
            </a:gs>
          </a:gsLst>
        </a:gradFill>
        <a:ln w="25400">
          <a:solidFill>
            <a:schemeClr val="tx1">
              <a:alpha val="50000"/>
            </a:schemeClr>
          </a:solidFill>
        </a:ln>
        <a:effectLst>
          <a:outerShdw blurRad="342900" dist="38100" dir="5400000" algn="t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sz="4000" dirty="0" err="1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DAM.CG PRO" pitchFamily="2" charset="77"/>
            </a:rPr>
            <a:t>Aktiviteter</a:t>
          </a:r>
          <a:endParaRPr lang="en-US" sz="4000" dirty="0">
            <a:solidFill>
              <a:schemeClr val="bg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latin typeface="ADAM.CG PRO" pitchFamily="2" charset="77"/>
          </a:endParaRPr>
        </a:p>
      </dgm:t>
    </dgm:pt>
    <dgm:pt modelId="{CF5FE459-04BA-2947-AF5F-1360F10A5163}" type="parTrans" cxnId="{AED66ADF-F93B-EE4A-AFBF-9A9270D59C5A}">
      <dgm:prSet/>
      <dgm:spPr/>
      <dgm:t>
        <a:bodyPr/>
        <a:lstStyle/>
        <a:p>
          <a:endParaRPr lang="en-US"/>
        </a:p>
      </dgm:t>
    </dgm:pt>
    <dgm:pt modelId="{E9C28576-4273-1241-B420-9714CF494EBD}" type="sibTrans" cxnId="{AED66ADF-F93B-EE4A-AFBF-9A9270D59C5A}">
      <dgm:prSet/>
      <dgm:spPr/>
      <dgm:t>
        <a:bodyPr/>
        <a:lstStyle/>
        <a:p>
          <a:endParaRPr lang="en-US"/>
        </a:p>
      </dgm:t>
    </dgm:pt>
    <dgm:pt modelId="{33639466-9F4B-7641-A1FC-E231B0DB4686}" type="pres">
      <dgm:prSet presAssocID="{36748C4A-1F52-3B41-9477-D3E4ED5B1F9A}" presName="Name0" presStyleCnt="0">
        <dgm:presLayoutVars>
          <dgm:dir/>
          <dgm:animLvl val="lvl"/>
          <dgm:resizeHandles val="exact"/>
        </dgm:presLayoutVars>
      </dgm:prSet>
      <dgm:spPr/>
    </dgm:pt>
    <dgm:pt modelId="{FFABF91B-6FAA-954A-9D0F-43C4C2C64B18}" type="pres">
      <dgm:prSet presAssocID="{D1F009FC-6A3C-BB47-873E-5147286BECAF}" presName="Name8" presStyleCnt="0"/>
      <dgm:spPr/>
    </dgm:pt>
    <dgm:pt modelId="{C8249EA0-1CDB-BD44-BA3B-AC8E29E80391}" type="pres">
      <dgm:prSet presAssocID="{D1F009FC-6A3C-BB47-873E-5147286BECAF}" presName="level" presStyleLbl="node1" presStyleIdx="0" presStyleCnt="3">
        <dgm:presLayoutVars>
          <dgm:chMax val="1"/>
          <dgm:bulletEnabled val="1"/>
        </dgm:presLayoutVars>
      </dgm:prSet>
      <dgm:spPr/>
    </dgm:pt>
    <dgm:pt modelId="{B3783082-23EC-294C-B5DF-84809FBEFE89}" type="pres">
      <dgm:prSet presAssocID="{D1F009FC-6A3C-BB47-873E-5147286BECAF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AE6D52BC-0B6A-8E42-8D7B-65437B293892}" type="pres">
      <dgm:prSet presAssocID="{A9ED2279-F73F-F548-8A0C-ABFD2A5718AA}" presName="Name8" presStyleCnt="0"/>
      <dgm:spPr/>
    </dgm:pt>
    <dgm:pt modelId="{707F02CE-6A44-6E4E-A602-5CF00A118952}" type="pres">
      <dgm:prSet presAssocID="{A9ED2279-F73F-F548-8A0C-ABFD2A5718AA}" presName="level" presStyleLbl="node1" presStyleIdx="1" presStyleCnt="3">
        <dgm:presLayoutVars>
          <dgm:chMax val="1"/>
          <dgm:bulletEnabled val="1"/>
        </dgm:presLayoutVars>
      </dgm:prSet>
      <dgm:spPr/>
    </dgm:pt>
    <dgm:pt modelId="{1A82C65A-57CE-394E-B41D-19E45622FD45}" type="pres">
      <dgm:prSet presAssocID="{A9ED2279-F73F-F548-8A0C-ABFD2A5718AA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6E32C05-7383-6842-B7DF-7FD854C84B1B}" type="pres">
      <dgm:prSet presAssocID="{6E71B1EC-00BF-A14F-9B38-06CCCC878993}" presName="Name8" presStyleCnt="0"/>
      <dgm:spPr/>
    </dgm:pt>
    <dgm:pt modelId="{239434AF-A209-0044-BC80-23A5A47D1D30}" type="pres">
      <dgm:prSet presAssocID="{6E71B1EC-00BF-A14F-9B38-06CCCC878993}" presName="level" presStyleLbl="node1" presStyleIdx="2" presStyleCnt="3">
        <dgm:presLayoutVars>
          <dgm:chMax val="1"/>
          <dgm:bulletEnabled val="1"/>
        </dgm:presLayoutVars>
      </dgm:prSet>
      <dgm:spPr/>
    </dgm:pt>
    <dgm:pt modelId="{C64FDE69-7AE6-A64C-A8FA-DE417BF9F5D0}" type="pres">
      <dgm:prSet presAssocID="{6E71B1EC-00BF-A14F-9B38-06CCCC878993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B978EC05-465B-6E40-9C47-E55AA3DF02CD}" type="presOf" srcId="{36748C4A-1F52-3B41-9477-D3E4ED5B1F9A}" destId="{33639466-9F4B-7641-A1FC-E231B0DB4686}" srcOrd="0" destOrd="0" presId="urn:microsoft.com/office/officeart/2005/8/layout/pyramid1"/>
    <dgm:cxn modelId="{D876316A-227C-9742-B0D5-D7AD13ACA569}" srcId="{36748C4A-1F52-3B41-9477-D3E4ED5B1F9A}" destId="{D1F009FC-6A3C-BB47-873E-5147286BECAF}" srcOrd="0" destOrd="0" parTransId="{B6737589-D87D-0745-862C-0D9E7FEFC0AF}" sibTransId="{3E448B47-6095-6044-A660-E70BEE74BD81}"/>
    <dgm:cxn modelId="{6BEC9898-E136-2E4A-89BD-23763531D898}" type="presOf" srcId="{6E71B1EC-00BF-A14F-9B38-06CCCC878993}" destId="{C64FDE69-7AE6-A64C-A8FA-DE417BF9F5D0}" srcOrd="1" destOrd="0" presId="urn:microsoft.com/office/officeart/2005/8/layout/pyramid1"/>
    <dgm:cxn modelId="{DAE4F1A5-8A1F-C74C-8F59-91C2C4A9A730}" type="presOf" srcId="{A9ED2279-F73F-F548-8A0C-ABFD2A5718AA}" destId="{707F02CE-6A44-6E4E-A602-5CF00A118952}" srcOrd="0" destOrd="0" presId="urn:microsoft.com/office/officeart/2005/8/layout/pyramid1"/>
    <dgm:cxn modelId="{97DD22C9-3E6C-DD43-8F0F-3E314E4E7A09}" type="presOf" srcId="{D1F009FC-6A3C-BB47-873E-5147286BECAF}" destId="{B3783082-23EC-294C-B5DF-84809FBEFE89}" srcOrd="1" destOrd="0" presId="urn:microsoft.com/office/officeart/2005/8/layout/pyramid1"/>
    <dgm:cxn modelId="{1E9BECCB-28C0-6E48-8784-EC76AE2B6C55}" srcId="{36748C4A-1F52-3B41-9477-D3E4ED5B1F9A}" destId="{A9ED2279-F73F-F548-8A0C-ABFD2A5718AA}" srcOrd="1" destOrd="0" parTransId="{F13652E5-4177-ED48-B456-34E855C85BAC}" sibTransId="{492788BD-600E-AF49-995D-2E40A71915BA}"/>
    <dgm:cxn modelId="{AED66ADF-F93B-EE4A-AFBF-9A9270D59C5A}" srcId="{36748C4A-1F52-3B41-9477-D3E4ED5B1F9A}" destId="{6E71B1EC-00BF-A14F-9B38-06CCCC878993}" srcOrd="2" destOrd="0" parTransId="{CF5FE459-04BA-2947-AF5F-1360F10A5163}" sibTransId="{E9C28576-4273-1241-B420-9714CF494EBD}"/>
    <dgm:cxn modelId="{094B80EB-8BD7-0A4E-84E9-094810E7BEA6}" type="presOf" srcId="{6E71B1EC-00BF-A14F-9B38-06CCCC878993}" destId="{239434AF-A209-0044-BC80-23A5A47D1D30}" srcOrd="0" destOrd="0" presId="urn:microsoft.com/office/officeart/2005/8/layout/pyramid1"/>
    <dgm:cxn modelId="{66850EFE-3F44-AB42-BB57-7C440387A265}" type="presOf" srcId="{D1F009FC-6A3C-BB47-873E-5147286BECAF}" destId="{C8249EA0-1CDB-BD44-BA3B-AC8E29E80391}" srcOrd="0" destOrd="0" presId="urn:microsoft.com/office/officeart/2005/8/layout/pyramid1"/>
    <dgm:cxn modelId="{633E6DFF-CA27-7F49-918F-816E9E2AFA2D}" type="presOf" srcId="{A9ED2279-F73F-F548-8A0C-ABFD2A5718AA}" destId="{1A82C65A-57CE-394E-B41D-19E45622FD45}" srcOrd="1" destOrd="0" presId="urn:microsoft.com/office/officeart/2005/8/layout/pyramid1"/>
    <dgm:cxn modelId="{EE544841-8B0E-134A-8712-03F81DE01132}" type="presParOf" srcId="{33639466-9F4B-7641-A1FC-E231B0DB4686}" destId="{FFABF91B-6FAA-954A-9D0F-43C4C2C64B18}" srcOrd="0" destOrd="0" presId="urn:microsoft.com/office/officeart/2005/8/layout/pyramid1"/>
    <dgm:cxn modelId="{D04A8EA3-1D1D-784B-BB43-7EE81267E749}" type="presParOf" srcId="{FFABF91B-6FAA-954A-9D0F-43C4C2C64B18}" destId="{C8249EA0-1CDB-BD44-BA3B-AC8E29E80391}" srcOrd="0" destOrd="0" presId="urn:microsoft.com/office/officeart/2005/8/layout/pyramid1"/>
    <dgm:cxn modelId="{2D41EAEA-05F6-B74C-B218-D085D4C35270}" type="presParOf" srcId="{FFABF91B-6FAA-954A-9D0F-43C4C2C64B18}" destId="{B3783082-23EC-294C-B5DF-84809FBEFE89}" srcOrd="1" destOrd="0" presId="urn:microsoft.com/office/officeart/2005/8/layout/pyramid1"/>
    <dgm:cxn modelId="{EB953C4C-4B16-B344-B984-C4701BFF8B15}" type="presParOf" srcId="{33639466-9F4B-7641-A1FC-E231B0DB4686}" destId="{AE6D52BC-0B6A-8E42-8D7B-65437B293892}" srcOrd="1" destOrd="0" presId="urn:microsoft.com/office/officeart/2005/8/layout/pyramid1"/>
    <dgm:cxn modelId="{2173D560-DE66-E14E-9DA3-E6F9912AFE75}" type="presParOf" srcId="{AE6D52BC-0B6A-8E42-8D7B-65437B293892}" destId="{707F02CE-6A44-6E4E-A602-5CF00A118952}" srcOrd="0" destOrd="0" presId="urn:microsoft.com/office/officeart/2005/8/layout/pyramid1"/>
    <dgm:cxn modelId="{067A5C7D-2521-D84A-9BF4-DC2D91FE5B16}" type="presParOf" srcId="{AE6D52BC-0B6A-8E42-8D7B-65437B293892}" destId="{1A82C65A-57CE-394E-B41D-19E45622FD45}" srcOrd="1" destOrd="0" presId="urn:microsoft.com/office/officeart/2005/8/layout/pyramid1"/>
    <dgm:cxn modelId="{77E90E0C-BD5C-B041-BF1A-4C81CDB987CD}" type="presParOf" srcId="{33639466-9F4B-7641-A1FC-E231B0DB4686}" destId="{C6E32C05-7383-6842-B7DF-7FD854C84B1B}" srcOrd="2" destOrd="0" presId="urn:microsoft.com/office/officeart/2005/8/layout/pyramid1"/>
    <dgm:cxn modelId="{51F68B47-1490-FE4E-BF12-98EBF7032A98}" type="presParOf" srcId="{C6E32C05-7383-6842-B7DF-7FD854C84B1B}" destId="{239434AF-A209-0044-BC80-23A5A47D1D30}" srcOrd="0" destOrd="0" presId="urn:microsoft.com/office/officeart/2005/8/layout/pyramid1"/>
    <dgm:cxn modelId="{E0DB491E-1B79-634C-B486-375058A3937F}" type="presParOf" srcId="{C6E32C05-7383-6842-B7DF-7FD854C84B1B}" destId="{C64FDE69-7AE6-A64C-A8FA-DE417BF9F5D0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8249EA0-1CDB-BD44-BA3B-AC8E29E80391}">
      <dsp:nvSpPr>
        <dsp:cNvPr id="0" name=""/>
        <dsp:cNvSpPr/>
      </dsp:nvSpPr>
      <dsp:spPr>
        <a:xfrm>
          <a:off x="2709333" y="0"/>
          <a:ext cx="2709333" cy="1806222"/>
        </a:xfrm>
        <a:prstGeom prst="trapezoid">
          <a:avLst>
            <a:gd name="adj" fmla="val 75000"/>
          </a:avLst>
        </a:prstGeom>
        <a:gradFill rotWithShape="0">
          <a:gsLst>
            <a:gs pos="0">
              <a:srgbClr val="04D48A"/>
            </a:gs>
            <a:gs pos="50000">
              <a:srgbClr val="04D48A"/>
            </a:gs>
            <a:gs pos="100000">
              <a:schemeClr val="bg1"/>
            </a:gs>
          </a:gsLst>
          <a:lin ang="5400000" scaled="0"/>
        </a:gradFill>
        <a:ln w="25400">
          <a:solidFill>
            <a:schemeClr val="tx1">
              <a:alpha val="50000"/>
            </a:schemeClr>
          </a:solidFill>
        </a:ln>
        <a:effectLst>
          <a:outerShdw blurRad="342900" dist="38100" dir="5400000" algn="t" rotWithShape="0">
            <a:prstClr val="black">
              <a:alpha val="40000"/>
            </a:prst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 dirty="0">
            <a:solidFill>
              <a:schemeClr val="bg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latin typeface="ADAM.CG PRO" pitchFamily="2" charset="77"/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 dirty="0">
            <a:solidFill>
              <a:schemeClr val="bg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latin typeface="ADAM.CG PRO" pitchFamily="2" charset="77"/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 err="1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DAM.CG PRO" pitchFamily="2" charset="77"/>
            </a:rPr>
            <a:t>Syfte</a:t>
          </a:r>
          <a:endParaRPr lang="en-US" sz="3200" kern="1200" dirty="0">
            <a:solidFill>
              <a:schemeClr val="bg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latin typeface="ADAM.CG PRO" pitchFamily="2" charset="77"/>
          </a:endParaRPr>
        </a:p>
      </dsp:txBody>
      <dsp:txXfrm>
        <a:off x="2709333" y="0"/>
        <a:ext cx="2709333" cy="1806222"/>
      </dsp:txXfrm>
    </dsp:sp>
    <dsp:sp modelId="{707F02CE-6A44-6E4E-A602-5CF00A118952}">
      <dsp:nvSpPr>
        <dsp:cNvPr id="0" name=""/>
        <dsp:cNvSpPr/>
      </dsp:nvSpPr>
      <dsp:spPr>
        <a:xfrm>
          <a:off x="1354666" y="1806222"/>
          <a:ext cx="5418666" cy="1806222"/>
        </a:xfrm>
        <a:prstGeom prst="trapezoid">
          <a:avLst>
            <a:gd name="adj" fmla="val 75000"/>
          </a:avLst>
        </a:prstGeom>
        <a:gradFill rotWithShape="0">
          <a:gsLst>
            <a:gs pos="0">
              <a:srgbClr val="04D48A"/>
            </a:gs>
            <a:gs pos="50000">
              <a:srgbClr val="04D48A"/>
            </a:gs>
            <a:gs pos="100000">
              <a:schemeClr val="bg1"/>
            </a:gs>
          </a:gsLst>
          <a:lin ang="5400000" scaled="0"/>
        </a:gradFill>
        <a:ln w="25400">
          <a:solidFill>
            <a:schemeClr val="tx1">
              <a:alpha val="50000"/>
            </a:schemeClr>
          </a:solidFill>
        </a:ln>
        <a:effectLst>
          <a:outerShdw blurRad="342900" dist="38100" dir="5400000" algn="t" rotWithShape="0">
            <a:prstClr val="black">
              <a:alpha val="40000"/>
            </a:prst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0800" tIns="50800" rIns="50800" bIns="508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000" kern="1200" dirty="0" err="1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DAM.CG PRO" pitchFamily="2" charset="77"/>
            </a:rPr>
            <a:t>Mål</a:t>
          </a:r>
          <a:endParaRPr lang="en-US" sz="4000" kern="1200" dirty="0">
            <a:solidFill>
              <a:schemeClr val="bg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latin typeface="ADAM.CG PRO" pitchFamily="2" charset="77"/>
          </a:endParaRPr>
        </a:p>
      </dsp:txBody>
      <dsp:txXfrm>
        <a:off x="2302933" y="1806222"/>
        <a:ext cx="3522133" cy="1806222"/>
      </dsp:txXfrm>
    </dsp:sp>
    <dsp:sp modelId="{239434AF-A209-0044-BC80-23A5A47D1D30}">
      <dsp:nvSpPr>
        <dsp:cNvPr id="0" name=""/>
        <dsp:cNvSpPr/>
      </dsp:nvSpPr>
      <dsp:spPr>
        <a:xfrm>
          <a:off x="0" y="3612444"/>
          <a:ext cx="8128000" cy="1806222"/>
        </a:xfrm>
        <a:prstGeom prst="trapezoid">
          <a:avLst>
            <a:gd name="adj" fmla="val 75000"/>
          </a:avLst>
        </a:prstGeom>
        <a:gradFill rotWithShape="0">
          <a:gsLst>
            <a:gs pos="0">
              <a:srgbClr val="04D48A"/>
            </a:gs>
            <a:gs pos="50000">
              <a:srgbClr val="04D48A"/>
            </a:gs>
            <a:gs pos="100000">
              <a:schemeClr val="bg1"/>
            </a:gs>
          </a:gsLst>
          <a:lin ang="5400000" scaled="0"/>
        </a:gradFill>
        <a:ln w="25400">
          <a:solidFill>
            <a:schemeClr val="tx1">
              <a:alpha val="50000"/>
            </a:schemeClr>
          </a:solidFill>
        </a:ln>
        <a:effectLst>
          <a:outerShdw blurRad="342900" dist="38100" dir="5400000" algn="t" rotWithShape="0">
            <a:prstClr val="black">
              <a:alpha val="40000"/>
            </a:prst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0800" tIns="50800" rIns="50800" bIns="508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000" kern="1200" dirty="0" err="1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DAM.CG PRO" pitchFamily="2" charset="77"/>
            </a:rPr>
            <a:t>Aktiviteter</a:t>
          </a:r>
          <a:endParaRPr lang="en-US" sz="4000" kern="1200" dirty="0">
            <a:solidFill>
              <a:schemeClr val="bg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latin typeface="ADAM.CG PRO" pitchFamily="2" charset="77"/>
          </a:endParaRPr>
        </a:p>
      </dsp:txBody>
      <dsp:txXfrm>
        <a:off x="1422399" y="3612444"/>
        <a:ext cx="5283200" cy="180622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DDE10D-F7E9-A443-851F-1A521718B39F}" type="datetimeFigureOut">
              <a:rPr lang="sv-SE" smtClean="0"/>
              <a:t>2022-10-27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710863-6443-C746-B568-F5533F1CA71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531531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710863-6443-C746-B568-F5533F1CA718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326002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51E535-6225-4348-9B3D-9F1E401091C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8F093A7-84FD-2D49-AAFE-E91B5BF611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646B80-3392-5D49-9307-3FCE739438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3ACD9-D124-184E-BCAD-62333814A670}" type="datetimeFigureOut">
              <a:rPr lang="sv-SE" smtClean="0"/>
              <a:t>2022-10-27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510C10-6D9E-2745-9D75-BE657992C2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3E8CC5-A717-1949-B678-916B1C78AE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B22BBF-AD85-5B43-8A00-D0C5D603A8C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236416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71B52D-AB0A-EB41-ADB9-A82A501D02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DB26A77-2097-4440-953F-1149FE4A1AE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3A1B60-863B-FE43-845C-E9BC90257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3ACD9-D124-184E-BCAD-62333814A670}" type="datetimeFigureOut">
              <a:rPr lang="sv-SE" smtClean="0"/>
              <a:t>2022-10-27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D3A9AB-6172-6D41-9A77-D37B97F5B0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F21D5A-C590-B144-A15C-25928D4B2C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B22BBF-AD85-5B43-8A00-D0C5D603A8C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845739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7800B4C-9728-E348-A9BD-D0981DAEACE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44C392E-CB70-7445-85E9-4CFE4AD360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F3C37B-D6D5-A142-8ACD-06FA5B13EA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3ACD9-D124-184E-BCAD-62333814A670}" type="datetimeFigureOut">
              <a:rPr lang="sv-SE" smtClean="0"/>
              <a:t>2022-10-27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67A6D7-6556-B245-8BB4-4804BA2898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445183-E4A7-8047-AC94-21D99CC16B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B22BBF-AD85-5B43-8A00-D0C5D603A8C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816833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umsplatzhalter 28"/>
          <p:cNvSpPr>
            <a:spLocks noGrp="1"/>
          </p:cNvSpPr>
          <p:nvPr>
            <p:ph type="dt" sz="half" idx="2"/>
          </p:nvPr>
        </p:nvSpPr>
        <p:spPr>
          <a:xfrm>
            <a:off x="425450" y="73203"/>
            <a:ext cx="561051" cy="164212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algn="l">
              <a:defRPr sz="1067">
                <a:solidFill>
                  <a:schemeClr val="accent5"/>
                </a:solidFill>
                <a:latin typeface="+mn-lt"/>
              </a:defRPr>
            </a:lvl1pPr>
          </a:lstStyle>
          <a:p>
            <a:fld id="{86076C4A-54B5-477D-A729-0EC88E0676CA}" type="datetime5">
              <a:rPr lang="en-US" smtClean="0"/>
              <a:t>27-Oct-22</a:t>
            </a:fld>
            <a:endParaRPr lang="de-DE" dirty="0"/>
          </a:p>
        </p:txBody>
      </p:sp>
      <p:sp>
        <p:nvSpPr>
          <p:cNvPr id="9" name="Fußzeilenplatzhalter 29"/>
          <p:cNvSpPr>
            <a:spLocks noGrp="1"/>
          </p:cNvSpPr>
          <p:nvPr>
            <p:ph type="ftr" sz="quarter" idx="3"/>
          </p:nvPr>
        </p:nvSpPr>
        <p:spPr>
          <a:xfrm>
            <a:off x="1278674" y="73203"/>
            <a:ext cx="7010193" cy="16414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>
              <a:defRPr sz="1067">
                <a:solidFill>
                  <a:schemeClr val="accent5"/>
                </a:solidFill>
                <a:latin typeface="+mn-lt"/>
              </a:defRPr>
            </a:lvl1pPr>
          </a:lstStyle>
          <a:p>
            <a:r>
              <a:rPr lang="de-DE"/>
              <a:t>MM Mastertemplate 2017</a:t>
            </a:r>
            <a:endParaRPr lang="de-DE" dirty="0"/>
          </a:p>
        </p:txBody>
      </p:sp>
      <p:sp>
        <p:nvSpPr>
          <p:cNvPr id="10" name="Foliennummernplatzhalter 30"/>
          <p:cNvSpPr>
            <a:spLocks noGrp="1"/>
          </p:cNvSpPr>
          <p:nvPr>
            <p:ph type="sldNum" sz="quarter" idx="4"/>
          </p:nvPr>
        </p:nvSpPr>
        <p:spPr>
          <a:xfrm>
            <a:off x="11598298" y="73203"/>
            <a:ext cx="161903" cy="164212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algn="r">
              <a:defRPr sz="1067">
                <a:solidFill>
                  <a:schemeClr val="accent4"/>
                </a:solidFill>
                <a:latin typeface="+mn-lt"/>
              </a:defRPr>
            </a:lvl1pPr>
          </a:lstStyle>
          <a:p>
            <a:fld id="{9843CCCE-F58C-4725-960F-FC09F6D75AC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425450" y="489865"/>
            <a:ext cx="11334751" cy="886396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 </a:t>
            </a:r>
            <a:r>
              <a:rPr lang="de-DE" dirty="0" err="1"/>
              <a:t>mas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74366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9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067C59-3F8E-F04E-BE0B-9A78229119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6DDB89-7C81-954C-814C-EFCADAE546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B523F5-39E3-3640-8CB4-EEEF694069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3ACD9-D124-184E-BCAD-62333814A670}" type="datetimeFigureOut">
              <a:rPr lang="sv-SE" smtClean="0"/>
              <a:t>2022-10-27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AB68CF-53F2-6F45-9CB1-04129F4707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46131C-AAF1-9C49-B530-7ECDF62447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B22BBF-AD85-5B43-8A00-D0C5D603A8C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313251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F91E39-F026-B444-BF49-CD112695C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46F861-9764-264D-93AA-D3154CED92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E413A9-B3FF-7A4D-B5ED-5817895459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3ACD9-D124-184E-BCAD-62333814A670}" type="datetimeFigureOut">
              <a:rPr lang="sv-SE" smtClean="0"/>
              <a:t>2022-10-27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ABC47E-EF47-114D-B5FB-3B4B4F2093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34694B-2C58-C943-9ED6-6BA71B58E3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B22BBF-AD85-5B43-8A00-D0C5D603A8C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550832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7A3B2F-C7C6-B747-BBD1-0FEBEDF312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6121BF-50AA-9243-A9C5-AA260975EB5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0B0595-FCEC-0B49-BBD3-FF72BBCCEF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201E3B-8366-2845-A26B-99ABEC270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3ACD9-D124-184E-BCAD-62333814A670}" type="datetimeFigureOut">
              <a:rPr lang="sv-SE" smtClean="0"/>
              <a:t>2022-10-27</a:t>
            </a:fld>
            <a:endParaRPr lang="sv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4FE21AF-8654-974D-9247-6ABBD19EA6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E8707-FB2C-7948-9C84-47D1FC1123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B22BBF-AD85-5B43-8A00-D0C5D603A8C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164039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B2558F-210C-0C47-AA5D-331CCDD955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6943BE-789B-334E-84AF-2C14E06096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D848A64-731D-D749-BF40-7454C89B58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428539-930D-E74B-B7AC-9C63800182E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39E18C6-3FCD-6740-9697-2189A1F5516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C660DDF-1320-C046-B9E3-345464894D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3ACD9-D124-184E-BCAD-62333814A670}" type="datetimeFigureOut">
              <a:rPr lang="sv-SE" smtClean="0"/>
              <a:t>2022-10-27</a:t>
            </a:fld>
            <a:endParaRPr lang="sv-S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CF54547-3DE9-DB47-9FA0-0F37FAAF0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89920BB-178B-6A4F-874D-728ECD1B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B22BBF-AD85-5B43-8A00-D0C5D603A8C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800714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95D19A-F1D9-D84F-833F-FC1FFFBB74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59AF1EE-70F9-624B-9FF0-4EFE56154C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3ACD9-D124-184E-BCAD-62333814A670}" type="datetimeFigureOut">
              <a:rPr lang="sv-SE" smtClean="0"/>
              <a:t>2022-10-27</a:t>
            </a:fld>
            <a:endParaRPr lang="sv-S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17EE44-72FF-D245-935B-80022A3B97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F2CF44-898B-E54E-B3E0-3E5745E3EC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B22BBF-AD85-5B43-8A00-D0C5D603A8C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628730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A33F4A9-4997-EE4E-B0A9-A26907E1A7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3ACD9-D124-184E-BCAD-62333814A670}" type="datetimeFigureOut">
              <a:rPr lang="sv-SE" smtClean="0"/>
              <a:t>2022-10-27</a:t>
            </a:fld>
            <a:endParaRPr lang="sv-S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2E2C14-3C11-2842-B622-B998D3985B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93AD20-A318-A842-AEC3-E9BE0322F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B22BBF-AD85-5B43-8A00-D0C5D603A8C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153152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A8704F-D0C7-6941-BA9B-DA02BC739D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8605F9-A416-9A41-A3D0-058AB98021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B97C42-00D4-2F42-AD79-3E3A19272E3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5B865B-D6E1-5144-8E56-AEA8E5FD06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3ACD9-D124-184E-BCAD-62333814A670}" type="datetimeFigureOut">
              <a:rPr lang="sv-SE" smtClean="0"/>
              <a:t>2022-10-27</a:t>
            </a:fld>
            <a:endParaRPr lang="sv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250EA3E-009E-6F43-B573-C70C8382F9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20E1D25-1F2A-9A44-8FFE-157B4ECC35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B22BBF-AD85-5B43-8A00-D0C5D603A8C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644333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8C4C64-5D4C-0B40-9459-82145A405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20AFB07-E5D6-C24E-A4C3-BCEA9585491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7DE76E-E3C4-654B-B266-6CE2D9DFCFB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1BE9A4-CC7D-F94B-B4C7-D5932D4BA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3ACD9-D124-184E-BCAD-62333814A670}" type="datetimeFigureOut">
              <a:rPr lang="sv-SE" smtClean="0"/>
              <a:t>2022-10-27</a:t>
            </a:fld>
            <a:endParaRPr lang="sv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960A28F-C65E-F741-B67E-24297B2BA0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23822B-B056-D849-AB3C-B52E4D084A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B22BBF-AD85-5B43-8A00-D0C5D603A8C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754943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9CB31A0-19AD-F048-B98C-DAEB8F57D5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747CC9-FDDE-D849-9B7D-13BA9EED50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556A9D-DE93-1440-9277-6DC3D3F844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43ACD9-D124-184E-BCAD-62333814A670}" type="datetimeFigureOut">
              <a:rPr lang="sv-SE" smtClean="0"/>
              <a:t>2022-10-27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DA1F02-862F-D14A-B2B1-9C18052239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C26A5C-3379-0744-8F77-30444D0817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B22BBF-AD85-5B43-8A00-D0C5D603A8C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59915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169148AA-AB83-EE40-9ACC-662EE80A1E64}"/>
              </a:ext>
            </a:extLst>
          </p:cNvPr>
          <p:cNvSpPr/>
          <p:nvPr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E3276B7-81E2-C045-B08C-ACC46EB49FE2}"/>
              </a:ext>
            </a:extLst>
          </p:cNvPr>
          <p:cNvSpPr txBox="1"/>
          <p:nvPr/>
        </p:nvSpPr>
        <p:spPr>
          <a:xfrm>
            <a:off x="-215736" y="1808217"/>
            <a:ext cx="12623470" cy="28777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81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Martyric Personal Use Only" pitchFamily="2" charset="77"/>
              </a:rPr>
              <a:t>GRI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B75995F-8C1C-B94E-9275-74FACF2AADC2}"/>
              </a:ext>
            </a:extLst>
          </p:cNvPr>
          <p:cNvSpPr/>
          <p:nvPr/>
        </p:nvSpPr>
        <p:spPr>
          <a:xfrm>
            <a:off x="6435524" y="6494144"/>
            <a:ext cx="562716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07148D2-389F-214E-ADB9-FF3A12BDAB12}"/>
              </a:ext>
            </a:extLst>
          </p:cNvPr>
          <p:cNvSpPr/>
          <p:nvPr/>
        </p:nvSpPr>
        <p:spPr>
          <a:xfrm>
            <a:off x="129310" y="6494144"/>
            <a:ext cx="562716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4DBB3B1-9FDA-0046-86AF-8A83CAF88EB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2601" y="6255289"/>
            <a:ext cx="406799" cy="477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1127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778BD29-99B3-844A-B9ED-690573B9E6D7}"/>
              </a:ext>
            </a:extLst>
          </p:cNvPr>
          <p:cNvSpPr/>
          <p:nvPr/>
        </p:nvSpPr>
        <p:spPr>
          <a:xfrm>
            <a:off x="0" y="0"/>
            <a:ext cx="2286000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F7DD56B-2B2D-D841-9933-A814CA8A818A}"/>
              </a:ext>
            </a:extLst>
          </p:cNvPr>
          <p:cNvSpPr txBox="1"/>
          <p:nvPr/>
        </p:nvSpPr>
        <p:spPr>
          <a:xfrm>
            <a:off x="129310" y="448310"/>
            <a:ext cx="6255239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88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Sma</a:t>
            </a:r>
            <a:r>
              <a:rPr lang="sv-SE" sz="8800" b="1" dirty="0">
                <a:solidFill>
                  <a:srgbClr val="04D48A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rt(a) må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AD79B7F-F9D4-F246-A26D-ABF21DE95BCC}"/>
              </a:ext>
            </a:extLst>
          </p:cNvPr>
          <p:cNvSpPr/>
          <p:nvPr/>
        </p:nvSpPr>
        <p:spPr>
          <a:xfrm>
            <a:off x="6435524" y="6494144"/>
            <a:ext cx="5627167" cy="45719"/>
          </a:xfrm>
          <a:prstGeom prst="rect">
            <a:avLst/>
          </a:prstGeom>
          <a:solidFill>
            <a:srgbClr val="04D48A"/>
          </a:solidFill>
          <a:ln>
            <a:gradFill>
              <a:gsLst>
                <a:gs pos="0">
                  <a:schemeClr val="bg1"/>
                </a:gs>
                <a:gs pos="74000">
                  <a:srgbClr val="04D48A"/>
                </a:gs>
                <a:gs pos="83000">
                  <a:srgbClr val="04D48A"/>
                </a:gs>
                <a:gs pos="100000">
                  <a:srgbClr val="04D48A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FCF3CBA-F763-1148-B4FD-B0870C8E1E75}"/>
              </a:ext>
            </a:extLst>
          </p:cNvPr>
          <p:cNvSpPr/>
          <p:nvPr/>
        </p:nvSpPr>
        <p:spPr>
          <a:xfrm>
            <a:off x="129310" y="6494144"/>
            <a:ext cx="5627167" cy="45719"/>
          </a:xfrm>
          <a:prstGeom prst="rect">
            <a:avLst/>
          </a:prstGeom>
          <a:solidFill>
            <a:srgbClr val="04D48A"/>
          </a:solidFill>
          <a:ln>
            <a:gradFill>
              <a:gsLst>
                <a:gs pos="26000">
                  <a:schemeClr val="accent1">
                    <a:lumMod val="5000"/>
                    <a:lumOff val="95000"/>
                  </a:schemeClr>
                </a:gs>
                <a:gs pos="70000">
                  <a:srgbClr val="04D48A"/>
                </a:gs>
                <a:gs pos="87000">
                  <a:srgbClr val="04D48A"/>
                </a:gs>
                <a:gs pos="100000">
                  <a:srgbClr val="04D48A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EC7D9D9-6B44-1048-B44A-9E75376D7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7273" y="6254239"/>
            <a:ext cx="397454" cy="479809"/>
          </a:xfrm>
          <a:prstGeom prst="rect">
            <a:avLst/>
          </a:prstGeom>
        </p:spPr>
      </p:pic>
      <p:sp>
        <p:nvSpPr>
          <p:cNvPr id="13" name="Pie 12">
            <a:extLst>
              <a:ext uri="{FF2B5EF4-FFF2-40B4-BE49-F238E27FC236}">
                <a16:creationId xmlns:a16="http://schemas.microsoft.com/office/drawing/2014/main" id="{3BCB6456-A517-E44E-8C7C-9BBD60950FDD}"/>
              </a:ext>
            </a:extLst>
          </p:cNvPr>
          <p:cNvSpPr/>
          <p:nvPr/>
        </p:nvSpPr>
        <p:spPr>
          <a:xfrm>
            <a:off x="129310" y="43228"/>
            <a:ext cx="604684" cy="604684"/>
          </a:xfrm>
          <a:prstGeom prst="pie">
            <a:avLst/>
          </a:prstGeom>
          <a:solidFill>
            <a:schemeClr val="bg1"/>
          </a:solidFill>
          <a:ln>
            <a:solidFill>
              <a:srgbClr val="04D4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B853609-93F0-9642-94A5-BF5F6BC5233A}"/>
              </a:ext>
            </a:extLst>
          </p:cNvPr>
          <p:cNvSpPr txBox="1"/>
          <p:nvPr/>
        </p:nvSpPr>
        <p:spPr bwMode="auto">
          <a:xfrm>
            <a:off x="1961503" y="2053693"/>
            <a:ext cx="9248630" cy="53245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616F40"/>
            </a:prstShdw>
          </a:effectLst>
        </p:spPr>
        <p:txBody>
          <a:bodyPr wrap="square" numCol="1" rtlCol="0">
            <a:spAutoFit/>
          </a:bodyPr>
          <a:lstStyle/>
          <a:p>
            <a:pPr marL="285750" indent="-285750">
              <a:spcBef>
                <a:spcPct val="5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4000" b="1" dirty="0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Specifikt</a:t>
            </a:r>
          </a:p>
          <a:p>
            <a:pPr marL="285750" indent="-285750">
              <a:spcBef>
                <a:spcPct val="5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4000" b="1" dirty="0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Mätbart</a:t>
            </a:r>
          </a:p>
          <a:p>
            <a:pPr marL="285750" indent="-285750">
              <a:spcBef>
                <a:spcPct val="5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4000" b="1" dirty="0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Attraktivt</a:t>
            </a:r>
          </a:p>
          <a:p>
            <a:pPr marL="285750" indent="-285750">
              <a:spcBef>
                <a:spcPct val="5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4000" b="1" dirty="0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Robust</a:t>
            </a:r>
          </a:p>
          <a:p>
            <a:pPr marL="285750" indent="-285750">
              <a:spcBef>
                <a:spcPct val="5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4000" b="1" dirty="0" err="1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Tidssatt</a:t>
            </a:r>
            <a:endParaRPr lang="sv-SE" sz="4000" b="1" dirty="0">
              <a:solidFill>
                <a:srgbClr val="04D48A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ADAM.CG PRO" pitchFamily="2" charset="77"/>
            </a:endParaRPr>
          </a:p>
          <a:p>
            <a:pPr marL="285750" indent="-285750">
              <a:spcBef>
                <a:spcPct val="5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endParaRPr lang="sv-SE" sz="4000" b="1" dirty="0">
              <a:solidFill>
                <a:srgbClr val="04D48A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ADAM.CG PRO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5844206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B468154-711E-D541-BDFA-E12CDAA917C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87B9A64-D358-FE41-B026-C9E97B2FD4BA}"/>
              </a:ext>
            </a:extLst>
          </p:cNvPr>
          <p:cNvSpPr txBox="1"/>
          <p:nvPr/>
        </p:nvSpPr>
        <p:spPr>
          <a:xfrm>
            <a:off x="2371209" y="1973483"/>
            <a:ext cx="7856381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72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Sätt ditt egna </a:t>
            </a:r>
          </a:p>
          <a:p>
            <a:pPr algn="ctr"/>
            <a:r>
              <a:rPr lang="sv-SE" sz="72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smarta mål!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70BBE5F-E465-6841-B241-6CE31AF07ED8}"/>
              </a:ext>
            </a:extLst>
          </p:cNvPr>
          <p:cNvSpPr/>
          <p:nvPr/>
        </p:nvSpPr>
        <p:spPr>
          <a:xfrm>
            <a:off x="6435524" y="6494144"/>
            <a:ext cx="562716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3BCF364-3CE6-1840-8A25-4AD5FFA00C5B}"/>
              </a:ext>
            </a:extLst>
          </p:cNvPr>
          <p:cNvSpPr/>
          <p:nvPr/>
        </p:nvSpPr>
        <p:spPr>
          <a:xfrm>
            <a:off x="129310" y="6494144"/>
            <a:ext cx="562716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3761D40-0EFE-CF49-85A3-F3ECA3DF3B5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2601" y="6255289"/>
            <a:ext cx="406799" cy="477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4476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B468154-711E-D541-BDFA-E12CDAA917C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87B9A64-D358-FE41-B026-C9E97B2FD4BA}"/>
              </a:ext>
            </a:extLst>
          </p:cNvPr>
          <p:cNvSpPr txBox="1"/>
          <p:nvPr/>
        </p:nvSpPr>
        <p:spPr>
          <a:xfrm>
            <a:off x="3240442" y="2228671"/>
            <a:ext cx="5711115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72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Vägen dit?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70BBE5F-E465-6841-B241-6CE31AF07ED8}"/>
              </a:ext>
            </a:extLst>
          </p:cNvPr>
          <p:cNvSpPr/>
          <p:nvPr/>
        </p:nvSpPr>
        <p:spPr>
          <a:xfrm>
            <a:off x="6435524" y="6494144"/>
            <a:ext cx="562716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3BCF364-3CE6-1840-8A25-4AD5FFA00C5B}"/>
              </a:ext>
            </a:extLst>
          </p:cNvPr>
          <p:cNvSpPr/>
          <p:nvPr/>
        </p:nvSpPr>
        <p:spPr>
          <a:xfrm>
            <a:off x="129310" y="6494144"/>
            <a:ext cx="562716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3761D40-0EFE-CF49-85A3-F3ECA3DF3B5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2601" y="6255289"/>
            <a:ext cx="406799" cy="477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2441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B468154-711E-D541-BDFA-E12CDAA917C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87B9A64-D358-FE41-B026-C9E97B2FD4BA}"/>
              </a:ext>
            </a:extLst>
          </p:cNvPr>
          <p:cNvSpPr txBox="1"/>
          <p:nvPr/>
        </p:nvSpPr>
        <p:spPr>
          <a:xfrm>
            <a:off x="4501984" y="2228671"/>
            <a:ext cx="359483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72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NÖHRA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70BBE5F-E465-6841-B241-6CE31AF07ED8}"/>
              </a:ext>
            </a:extLst>
          </p:cNvPr>
          <p:cNvSpPr/>
          <p:nvPr/>
        </p:nvSpPr>
        <p:spPr>
          <a:xfrm>
            <a:off x="6435524" y="6494144"/>
            <a:ext cx="562716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3BCF364-3CE6-1840-8A25-4AD5FFA00C5B}"/>
              </a:ext>
            </a:extLst>
          </p:cNvPr>
          <p:cNvSpPr/>
          <p:nvPr/>
        </p:nvSpPr>
        <p:spPr>
          <a:xfrm>
            <a:off x="129310" y="6494144"/>
            <a:ext cx="562716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3761D40-0EFE-CF49-85A3-F3ECA3DF3B5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2601" y="6255289"/>
            <a:ext cx="406799" cy="477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29929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778BD29-99B3-844A-B9ED-690573B9E6D7}"/>
              </a:ext>
            </a:extLst>
          </p:cNvPr>
          <p:cNvSpPr/>
          <p:nvPr/>
        </p:nvSpPr>
        <p:spPr>
          <a:xfrm>
            <a:off x="0" y="0"/>
            <a:ext cx="2286000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F7DD56B-2B2D-D841-9933-A814CA8A818A}"/>
              </a:ext>
            </a:extLst>
          </p:cNvPr>
          <p:cNvSpPr txBox="1"/>
          <p:nvPr/>
        </p:nvSpPr>
        <p:spPr>
          <a:xfrm>
            <a:off x="129310" y="713511"/>
            <a:ext cx="798263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72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Vad </a:t>
            </a:r>
            <a:r>
              <a:rPr lang="sv-SE" sz="7200" b="1" dirty="0">
                <a:solidFill>
                  <a:srgbClr val="04D48A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är NÖHRA?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AD79B7F-F9D4-F246-A26D-ABF21DE95BCC}"/>
              </a:ext>
            </a:extLst>
          </p:cNvPr>
          <p:cNvSpPr/>
          <p:nvPr/>
        </p:nvSpPr>
        <p:spPr>
          <a:xfrm>
            <a:off x="6435524" y="6494144"/>
            <a:ext cx="5627167" cy="45719"/>
          </a:xfrm>
          <a:prstGeom prst="rect">
            <a:avLst/>
          </a:prstGeom>
          <a:solidFill>
            <a:srgbClr val="04D48A"/>
          </a:solidFill>
          <a:ln>
            <a:gradFill>
              <a:gsLst>
                <a:gs pos="0">
                  <a:schemeClr val="bg1"/>
                </a:gs>
                <a:gs pos="74000">
                  <a:srgbClr val="04D48A"/>
                </a:gs>
                <a:gs pos="83000">
                  <a:srgbClr val="04D48A"/>
                </a:gs>
                <a:gs pos="100000">
                  <a:srgbClr val="04D48A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FCF3CBA-F763-1148-B4FD-B0870C8E1E75}"/>
              </a:ext>
            </a:extLst>
          </p:cNvPr>
          <p:cNvSpPr/>
          <p:nvPr/>
        </p:nvSpPr>
        <p:spPr>
          <a:xfrm>
            <a:off x="129310" y="6494144"/>
            <a:ext cx="5627167" cy="45719"/>
          </a:xfrm>
          <a:prstGeom prst="rect">
            <a:avLst/>
          </a:prstGeom>
          <a:solidFill>
            <a:srgbClr val="04D48A"/>
          </a:solidFill>
          <a:ln>
            <a:gradFill>
              <a:gsLst>
                <a:gs pos="26000">
                  <a:schemeClr val="accent1">
                    <a:lumMod val="5000"/>
                    <a:lumOff val="95000"/>
                  </a:schemeClr>
                </a:gs>
                <a:gs pos="70000">
                  <a:srgbClr val="04D48A"/>
                </a:gs>
                <a:gs pos="87000">
                  <a:srgbClr val="04D48A"/>
                </a:gs>
                <a:gs pos="100000">
                  <a:srgbClr val="04D48A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EC7D9D9-6B44-1048-B44A-9E75376D7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7273" y="6254239"/>
            <a:ext cx="397454" cy="47980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B853609-93F0-9642-94A5-BF5F6BC5233A}"/>
              </a:ext>
            </a:extLst>
          </p:cNvPr>
          <p:cNvSpPr txBox="1"/>
          <p:nvPr/>
        </p:nvSpPr>
        <p:spPr bwMode="auto">
          <a:xfrm>
            <a:off x="1974755" y="2458227"/>
            <a:ext cx="9248630" cy="35394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616F40"/>
            </a:prstShdw>
          </a:effectLst>
        </p:spPr>
        <p:txBody>
          <a:bodyPr wrap="square" numCol="1" rtlCol="0">
            <a:spAutoFit/>
          </a:bodyPr>
          <a:lstStyle/>
          <a:p>
            <a:pPr marL="285750" indent="-285750">
              <a:spcBef>
                <a:spcPct val="5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3200" b="1" dirty="0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Nuläge</a:t>
            </a:r>
          </a:p>
          <a:p>
            <a:pPr marL="285750" indent="-285750">
              <a:spcBef>
                <a:spcPct val="5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3200" b="1" dirty="0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Önskat resultat</a:t>
            </a:r>
          </a:p>
          <a:p>
            <a:pPr marL="285750" indent="-285750">
              <a:spcBef>
                <a:spcPct val="5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3200" b="1" dirty="0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Hinder</a:t>
            </a:r>
          </a:p>
          <a:p>
            <a:pPr marL="285750" indent="-285750">
              <a:spcBef>
                <a:spcPct val="5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3200" b="1" dirty="0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Resurser</a:t>
            </a:r>
          </a:p>
          <a:p>
            <a:pPr marL="285750" indent="-285750">
              <a:spcBef>
                <a:spcPct val="5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3200" b="1" dirty="0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Action</a:t>
            </a:r>
          </a:p>
        </p:txBody>
      </p:sp>
    </p:spTree>
    <p:extLst>
      <p:ext uri="{BB962C8B-B14F-4D97-AF65-F5344CB8AC3E}">
        <p14:creationId xmlns:p14="http://schemas.microsoft.com/office/powerpoint/2010/main" val="40809810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B468154-711E-D541-BDFA-E12CDAA917C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87B9A64-D358-FE41-B026-C9E97B2FD4BA}"/>
              </a:ext>
            </a:extLst>
          </p:cNvPr>
          <p:cNvSpPr txBox="1"/>
          <p:nvPr/>
        </p:nvSpPr>
        <p:spPr>
          <a:xfrm>
            <a:off x="3395356" y="2342815"/>
            <a:ext cx="5401287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96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Attityd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70BBE5F-E465-6841-B241-6CE31AF07ED8}"/>
              </a:ext>
            </a:extLst>
          </p:cNvPr>
          <p:cNvSpPr/>
          <p:nvPr/>
        </p:nvSpPr>
        <p:spPr>
          <a:xfrm>
            <a:off x="6435524" y="6494144"/>
            <a:ext cx="562716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3BCF364-3CE6-1840-8A25-4AD5FFA00C5B}"/>
              </a:ext>
            </a:extLst>
          </p:cNvPr>
          <p:cNvSpPr/>
          <p:nvPr/>
        </p:nvSpPr>
        <p:spPr>
          <a:xfrm>
            <a:off x="129310" y="6494144"/>
            <a:ext cx="562716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3761D40-0EFE-CF49-85A3-F3ECA3DF3B5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2601" y="6255289"/>
            <a:ext cx="406799" cy="477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5436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B468154-711E-D541-BDFA-E12CDAA917C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87B9A64-D358-FE41-B026-C9E97B2FD4BA}"/>
              </a:ext>
            </a:extLst>
          </p:cNvPr>
          <p:cNvSpPr txBox="1"/>
          <p:nvPr/>
        </p:nvSpPr>
        <p:spPr>
          <a:xfrm>
            <a:off x="824877" y="2465925"/>
            <a:ext cx="1054224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80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Den inre dialoge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70BBE5F-E465-6841-B241-6CE31AF07ED8}"/>
              </a:ext>
            </a:extLst>
          </p:cNvPr>
          <p:cNvSpPr/>
          <p:nvPr/>
        </p:nvSpPr>
        <p:spPr>
          <a:xfrm>
            <a:off x="6435524" y="6494144"/>
            <a:ext cx="562716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3BCF364-3CE6-1840-8A25-4AD5FFA00C5B}"/>
              </a:ext>
            </a:extLst>
          </p:cNvPr>
          <p:cNvSpPr/>
          <p:nvPr/>
        </p:nvSpPr>
        <p:spPr>
          <a:xfrm>
            <a:off x="129310" y="6494144"/>
            <a:ext cx="562716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3761D40-0EFE-CF49-85A3-F3ECA3DF3B5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2601" y="6255289"/>
            <a:ext cx="406799" cy="477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13507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778BD29-99B3-844A-B9ED-690573B9E6D7}"/>
              </a:ext>
            </a:extLst>
          </p:cNvPr>
          <p:cNvSpPr/>
          <p:nvPr/>
        </p:nvSpPr>
        <p:spPr>
          <a:xfrm>
            <a:off x="0" y="0"/>
            <a:ext cx="2286000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F7DD56B-2B2D-D841-9933-A814CA8A818A}"/>
              </a:ext>
            </a:extLst>
          </p:cNvPr>
          <p:cNvSpPr txBox="1"/>
          <p:nvPr/>
        </p:nvSpPr>
        <p:spPr>
          <a:xfrm>
            <a:off x="557079" y="691140"/>
            <a:ext cx="779925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54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   Vad </a:t>
            </a:r>
            <a:r>
              <a:rPr lang="sv-SE" sz="5400" b="1" dirty="0">
                <a:solidFill>
                  <a:srgbClr val="04D48A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Brukar du prata om?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AD79B7F-F9D4-F246-A26D-ABF21DE95BCC}"/>
              </a:ext>
            </a:extLst>
          </p:cNvPr>
          <p:cNvSpPr/>
          <p:nvPr/>
        </p:nvSpPr>
        <p:spPr>
          <a:xfrm>
            <a:off x="6435524" y="6494144"/>
            <a:ext cx="5627167" cy="45719"/>
          </a:xfrm>
          <a:prstGeom prst="rect">
            <a:avLst/>
          </a:prstGeom>
          <a:solidFill>
            <a:srgbClr val="04D48A"/>
          </a:solidFill>
          <a:ln>
            <a:gradFill>
              <a:gsLst>
                <a:gs pos="0">
                  <a:schemeClr val="bg1"/>
                </a:gs>
                <a:gs pos="74000">
                  <a:srgbClr val="04D48A"/>
                </a:gs>
                <a:gs pos="83000">
                  <a:srgbClr val="04D48A"/>
                </a:gs>
                <a:gs pos="100000">
                  <a:srgbClr val="04D48A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FCF3CBA-F763-1148-B4FD-B0870C8E1E75}"/>
              </a:ext>
            </a:extLst>
          </p:cNvPr>
          <p:cNvSpPr/>
          <p:nvPr/>
        </p:nvSpPr>
        <p:spPr>
          <a:xfrm>
            <a:off x="129310" y="6494144"/>
            <a:ext cx="5627167" cy="45719"/>
          </a:xfrm>
          <a:prstGeom prst="rect">
            <a:avLst/>
          </a:prstGeom>
          <a:solidFill>
            <a:srgbClr val="04D48A"/>
          </a:solidFill>
          <a:ln>
            <a:gradFill>
              <a:gsLst>
                <a:gs pos="26000">
                  <a:schemeClr val="accent1">
                    <a:lumMod val="5000"/>
                    <a:lumOff val="95000"/>
                  </a:schemeClr>
                </a:gs>
                <a:gs pos="70000">
                  <a:srgbClr val="04D48A"/>
                </a:gs>
                <a:gs pos="87000">
                  <a:srgbClr val="04D48A"/>
                </a:gs>
                <a:gs pos="100000">
                  <a:srgbClr val="04D48A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EC7D9D9-6B44-1048-B44A-9E75376D7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7273" y="6254239"/>
            <a:ext cx="397454" cy="479809"/>
          </a:xfrm>
          <a:prstGeom prst="rect">
            <a:avLst/>
          </a:prstGeom>
        </p:spPr>
      </p:pic>
      <p:sp>
        <p:nvSpPr>
          <p:cNvPr id="13" name="Pie 12">
            <a:extLst>
              <a:ext uri="{FF2B5EF4-FFF2-40B4-BE49-F238E27FC236}">
                <a16:creationId xmlns:a16="http://schemas.microsoft.com/office/drawing/2014/main" id="{3BCB6456-A517-E44E-8C7C-9BBD60950FDD}"/>
              </a:ext>
            </a:extLst>
          </p:cNvPr>
          <p:cNvSpPr/>
          <p:nvPr/>
        </p:nvSpPr>
        <p:spPr>
          <a:xfrm>
            <a:off x="129310" y="43228"/>
            <a:ext cx="604684" cy="604684"/>
          </a:xfrm>
          <a:prstGeom prst="pie">
            <a:avLst/>
          </a:prstGeom>
          <a:solidFill>
            <a:schemeClr val="bg1"/>
          </a:solidFill>
          <a:ln>
            <a:solidFill>
              <a:srgbClr val="04D4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C498DE6-430B-B443-8D3D-BD4DBEA88AF4}"/>
              </a:ext>
            </a:extLst>
          </p:cNvPr>
          <p:cNvSpPr txBox="1"/>
          <p:nvPr/>
        </p:nvSpPr>
        <p:spPr bwMode="auto">
          <a:xfrm>
            <a:off x="1974755" y="2458227"/>
            <a:ext cx="9248630" cy="3477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616F40"/>
            </a:prstShdw>
          </a:effectLst>
        </p:spPr>
        <p:txBody>
          <a:bodyPr wrap="square" numCol="1" rtlCol="0">
            <a:spAutoFit/>
          </a:bodyPr>
          <a:lstStyle/>
          <a:p>
            <a:pPr marL="285750" indent="-285750">
              <a:spcBef>
                <a:spcPct val="5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3200" b="1" dirty="0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Hur ofta pratar jag med mig själv?</a:t>
            </a:r>
          </a:p>
          <a:p>
            <a:pPr marL="285750" indent="-285750">
              <a:spcBef>
                <a:spcPct val="5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3200" b="1" dirty="0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Hur låter jag när jag pratar med mig själv?</a:t>
            </a:r>
          </a:p>
          <a:p>
            <a:pPr marL="285750" indent="-285750">
              <a:spcBef>
                <a:spcPct val="5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3200" b="1" dirty="0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3 saker jag ofta säger till mig själv?</a:t>
            </a:r>
          </a:p>
          <a:p>
            <a:pPr marL="285750" indent="-285750">
              <a:spcBef>
                <a:spcPct val="5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endParaRPr lang="sv-SE" sz="4000" b="1" dirty="0">
              <a:solidFill>
                <a:srgbClr val="04D48A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ADAM.CG PRO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5992180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778BD29-99B3-844A-B9ED-690573B9E6D7}"/>
              </a:ext>
            </a:extLst>
          </p:cNvPr>
          <p:cNvSpPr/>
          <p:nvPr/>
        </p:nvSpPr>
        <p:spPr>
          <a:xfrm>
            <a:off x="0" y="0"/>
            <a:ext cx="2286000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AD79B7F-F9D4-F246-A26D-ABF21DE95BCC}"/>
              </a:ext>
            </a:extLst>
          </p:cNvPr>
          <p:cNvSpPr/>
          <p:nvPr/>
        </p:nvSpPr>
        <p:spPr>
          <a:xfrm>
            <a:off x="6435524" y="6494144"/>
            <a:ext cx="5627167" cy="45719"/>
          </a:xfrm>
          <a:prstGeom prst="rect">
            <a:avLst/>
          </a:prstGeom>
          <a:solidFill>
            <a:srgbClr val="04D48A"/>
          </a:solidFill>
          <a:ln>
            <a:gradFill>
              <a:gsLst>
                <a:gs pos="0">
                  <a:schemeClr val="bg1"/>
                </a:gs>
                <a:gs pos="74000">
                  <a:srgbClr val="04D48A"/>
                </a:gs>
                <a:gs pos="83000">
                  <a:srgbClr val="04D48A"/>
                </a:gs>
                <a:gs pos="100000">
                  <a:srgbClr val="04D48A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EC7D9D9-6B44-1048-B44A-9E75376D7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7273" y="6254239"/>
            <a:ext cx="397454" cy="47980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3F4753A-8FB2-0A4A-AF2A-1FF3C11B941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0" y="0"/>
            <a:ext cx="9906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FA55CD4F-CDCF-6246-8DF3-B9181FA51355}"/>
              </a:ext>
            </a:extLst>
          </p:cNvPr>
          <p:cNvSpPr/>
          <p:nvPr/>
        </p:nvSpPr>
        <p:spPr>
          <a:xfrm>
            <a:off x="7239000" y="0"/>
            <a:ext cx="4953000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EAD3552-5081-604C-AEA6-E228A84FD2F4}"/>
              </a:ext>
            </a:extLst>
          </p:cNvPr>
          <p:cNvSpPr/>
          <p:nvPr/>
        </p:nvSpPr>
        <p:spPr>
          <a:xfrm>
            <a:off x="2286000" y="0"/>
            <a:ext cx="4953000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325398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xit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arn(inVertical)">
                                      <p:cBhvr>
                                        <p:cTn id="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xit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arn(inVertical)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4" grpId="1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B468154-711E-D541-BDFA-E12CDAA917C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87B9A64-D358-FE41-B026-C9E97B2FD4BA}"/>
              </a:ext>
            </a:extLst>
          </p:cNvPr>
          <p:cNvSpPr txBox="1"/>
          <p:nvPr/>
        </p:nvSpPr>
        <p:spPr>
          <a:xfrm>
            <a:off x="2549199" y="1973483"/>
            <a:ext cx="7093609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72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Livet händer.</a:t>
            </a:r>
          </a:p>
          <a:p>
            <a:pPr algn="ctr"/>
            <a:r>
              <a:rPr lang="sv-SE" sz="72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Varje dag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70BBE5F-E465-6841-B241-6CE31AF07ED8}"/>
              </a:ext>
            </a:extLst>
          </p:cNvPr>
          <p:cNvSpPr/>
          <p:nvPr/>
        </p:nvSpPr>
        <p:spPr>
          <a:xfrm>
            <a:off x="6435524" y="6494144"/>
            <a:ext cx="562716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3BCF364-3CE6-1840-8A25-4AD5FFA00C5B}"/>
              </a:ext>
            </a:extLst>
          </p:cNvPr>
          <p:cNvSpPr/>
          <p:nvPr/>
        </p:nvSpPr>
        <p:spPr>
          <a:xfrm>
            <a:off x="129310" y="6494144"/>
            <a:ext cx="562716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3761D40-0EFE-CF49-85A3-F3ECA3DF3B5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2601" y="6255289"/>
            <a:ext cx="406799" cy="477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65844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32815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B468154-711E-D541-BDFA-E12CDAA917C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87B9A64-D358-FE41-B026-C9E97B2FD4BA}"/>
              </a:ext>
            </a:extLst>
          </p:cNvPr>
          <p:cNvSpPr txBox="1"/>
          <p:nvPr/>
        </p:nvSpPr>
        <p:spPr>
          <a:xfrm>
            <a:off x="1294172" y="2408053"/>
            <a:ext cx="960365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72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Medveten trän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70BBE5F-E465-6841-B241-6CE31AF07ED8}"/>
              </a:ext>
            </a:extLst>
          </p:cNvPr>
          <p:cNvSpPr/>
          <p:nvPr/>
        </p:nvSpPr>
        <p:spPr>
          <a:xfrm>
            <a:off x="6435524" y="6494144"/>
            <a:ext cx="562716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3BCF364-3CE6-1840-8A25-4AD5FFA00C5B}"/>
              </a:ext>
            </a:extLst>
          </p:cNvPr>
          <p:cNvSpPr/>
          <p:nvPr/>
        </p:nvSpPr>
        <p:spPr>
          <a:xfrm>
            <a:off x="129310" y="6494144"/>
            <a:ext cx="562716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3761D40-0EFE-CF49-85A3-F3ECA3DF3B5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2601" y="6255289"/>
            <a:ext cx="406799" cy="477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42311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778BD29-99B3-844A-B9ED-690573B9E6D7}"/>
              </a:ext>
            </a:extLst>
          </p:cNvPr>
          <p:cNvSpPr/>
          <p:nvPr/>
        </p:nvSpPr>
        <p:spPr>
          <a:xfrm>
            <a:off x="0" y="0"/>
            <a:ext cx="2286000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F7DD56B-2B2D-D841-9933-A814CA8A818A}"/>
              </a:ext>
            </a:extLst>
          </p:cNvPr>
          <p:cNvSpPr txBox="1"/>
          <p:nvPr/>
        </p:nvSpPr>
        <p:spPr>
          <a:xfrm>
            <a:off x="129310" y="453635"/>
            <a:ext cx="11695638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88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Med</a:t>
            </a:r>
            <a:r>
              <a:rPr lang="sv-SE" sz="8800" b="1" dirty="0">
                <a:solidFill>
                  <a:srgbClr val="04D48A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veten trän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AD79B7F-F9D4-F246-A26D-ABF21DE95BCC}"/>
              </a:ext>
            </a:extLst>
          </p:cNvPr>
          <p:cNvSpPr/>
          <p:nvPr/>
        </p:nvSpPr>
        <p:spPr>
          <a:xfrm>
            <a:off x="6435524" y="6494144"/>
            <a:ext cx="5627167" cy="45719"/>
          </a:xfrm>
          <a:prstGeom prst="rect">
            <a:avLst/>
          </a:prstGeom>
          <a:solidFill>
            <a:srgbClr val="04D48A"/>
          </a:solidFill>
          <a:ln>
            <a:gradFill>
              <a:gsLst>
                <a:gs pos="0">
                  <a:schemeClr val="bg1"/>
                </a:gs>
                <a:gs pos="74000">
                  <a:srgbClr val="04D48A"/>
                </a:gs>
                <a:gs pos="83000">
                  <a:srgbClr val="04D48A"/>
                </a:gs>
                <a:gs pos="100000">
                  <a:srgbClr val="04D48A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FCF3CBA-F763-1148-B4FD-B0870C8E1E75}"/>
              </a:ext>
            </a:extLst>
          </p:cNvPr>
          <p:cNvSpPr/>
          <p:nvPr/>
        </p:nvSpPr>
        <p:spPr>
          <a:xfrm>
            <a:off x="129310" y="6494144"/>
            <a:ext cx="5627167" cy="45719"/>
          </a:xfrm>
          <a:prstGeom prst="rect">
            <a:avLst/>
          </a:prstGeom>
          <a:solidFill>
            <a:srgbClr val="04D48A"/>
          </a:solidFill>
          <a:ln>
            <a:gradFill>
              <a:gsLst>
                <a:gs pos="26000">
                  <a:schemeClr val="accent1">
                    <a:lumMod val="5000"/>
                    <a:lumOff val="95000"/>
                  </a:schemeClr>
                </a:gs>
                <a:gs pos="70000">
                  <a:srgbClr val="04D48A"/>
                </a:gs>
                <a:gs pos="87000">
                  <a:srgbClr val="04D48A"/>
                </a:gs>
                <a:gs pos="100000">
                  <a:srgbClr val="04D48A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EC7D9D9-6B44-1048-B44A-9E75376D7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7273" y="6254239"/>
            <a:ext cx="397454" cy="479809"/>
          </a:xfrm>
          <a:prstGeom prst="rect">
            <a:avLst/>
          </a:prstGeom>
        </p:spPr>
      </p:pic>
      <p:sp>
        <p:nvSpPr>
          <p:cNvPr id="13" name="Pie 12">
            <a:extLst>
              <a:ext uri="{FF2B5EF4-FFF2-40B4-BE49-F238E27FC236}">
                <a16:creationId xmlns:a16="http://schemas.microsoft.com/office/drawing/2014/main" id="{3BCB6456-A517-E44E-8C7C-9BBD60950FDD}"/>
              </a:ext>
            </a:extLst>
          </p:cNvPr>
          <p:cNvSpPr/>
          <p:nvPr/>
        </p:nvSpPr>
        <p:spPr>
          <a:xfrm>
            <a:off x="129310" y="43228"/>
            <a:ext cx="604684" cy="604684"/>
          </a:xfrm>
          <a:prstGeom prst="pie">
            <a:avLst/>
          </a:prstGeom>
          <a:solidFill>
            <a:schemeClr val="bg1"/>
          </a:solidFill>
          <a:ln>
            <a:solidFill>
              <a:srgbClr val="04D4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B853609-93F0-9642-94A5-BF5F6BC5233A}"/>
              </a:ext>
            </a:extLst>
          </p:cNvPr>
          <p:cNvSpPr txBox="1"/>
          <p:nvPr/>
        </p:nvSpPr>
        <p:spPr bwMode="auto">
          <a:xfrm>
            <a:off x="1974755" y="2458227"/>
            <a:ext cx="9248630" cy="39703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616F40"/>
            </a:prstShdw>
          </a:effectLst>
        </p:spPr>
        <p:txBody>
          <a:bodyPr wrap="square" numCol="1" rtlCol="0">
            <a:spAutoFit/>
          </a:bodyPr>
          <a:lstStyle/>
          <a:p>
            <a:pPr marL="285750" indent="-285750">
              <a:spcBef>
                <a:spcPct val="5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3200" b="1" dirty="0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Vad är medveten träning?</a:t>
            </a:r>
          </a:p>
          <a:p>
            <a:pPr marL="285750" indent="-285750">
              <a:spcBef>
                <a:spcPct val="5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3200" b="1" dirty="0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HUR KAN JAG utföra aktiviteter PÅ ETT MEDVETET SÄTT?</a:t>
            </a:r>
          </a:p>
          <a:p>
            <a:pPr marL="285750" indent="-285750">
              <a:spcBef>
                <a:spcPct val="5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3200" b="1" dirty="0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VAD BEHÖVER JAG FÖR VERKTYG FÖR ATT MÖJLIGGÖRA FÖR MEDVETEN TRÄNING?</a:t>
            </a:r>
          </a:p>
          <a:p>
            <a:pPr marL="285750" indent="-285750">
              <a:spcBef>
                <a:spcPct val="5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endParaRPr lang="sv-SE" sz="4000" b="1" dirty="0">
              <a:solidFill>
                <a:srgbClr val="04D48A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ADAM.CG PRO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4300299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B468154-711E-D541-BDFA-E12CDAA917C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87B9A64-D358-FE41-B026-C9E97B2FD4BA}"/>
              </a:ext>
            </a:extLst>
          </p:cNvPr>
          <p:cNvSpPr txBox="1"/>
          <p:nvPr/>
        </p:nvSpPr>
        <p:spPr>
          <a:xfrm>
            <a:off x="1893729" y="2342815"/>
            <a:ext cx="8404545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96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ägandeskap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70BBE5F-E465-6841-B241-6CE31AF07ED8}"/>
              </a:ext>
            </a:extLst>
          </p:cNvPr>
          <p:cNvSpPr/>
          <p:nvPr/>
        </p:nvSpPr>
        <p:spPr>
          <a:xfrm>
            <a:off x="6435524" y="6494144"/>
            <a:ext cx="562716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3BCF364-3CE6-1840-8A25-4AD5FFA00C5B}"/>
              </a:ext>
            </a:extLst>
          </p:cNvPr>
          <p:cNvSpPr/>
          <p:nvPr/>
        </p:nvSpPr>
        <p:spPr>
          <a:xfrm>
            <a:off x="129310" y="6494144"/>
            <a:ext cx="562716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3761D40-0EFE-CF49-85A3-F3ECA3DF3B5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2601" y="6255289"/>
            <a:ext cx="406799" cy="477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51739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778BD29-99B3-844A-B9ED-690573B9E6D7}"/>
              </a:ext>
            </a:extLst>
          </p:cNvPr>
          <p:cNvSpPr/>
          <p:nvPr/>
        </p:nvSpPr>
        <p:spPr>
          <a:xfrm>
            <a:off x="0" y="0"/>
            <a:ext cx="2286000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F7DD56B-2B2D-D841-9933-A814CA8A818A}"/>
              </a:ext>
            </a:extLst>
          </p:cNvPr>
          <p:cNvSpPr txBox="1"/>
          <p:nvPr/>
        </p:nvSpPr>
        <p:spPr>
          <a:xfrm>
            <a:off x="129310" y="2785407"/>
            <a:ext cx="731886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54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   Vems </a:t>
            </a:r>
            <a:r>
              <a:rPr lang="sv-SE" sz="5400" b="1" dirty="0">
                <a:solidFill>
                  <a:srgbClr val="04D48A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ansvar är ditt liv?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AD79B7F-F9D4-F246-A26D-ABF21DE95BCC}"/>
              </a:ext>
            </a:extLst>
          </p:cNvPr>
          <p:cNvSpPr/>
          <p:nvPr/>
        </p:nvSpPr>
        <p:spPr>
          <a:xfrm>
            <a:off x="6435524" y="6494144"/>
            <a:ext cx="5627167" cy="45719"/>
          </a:xfrm>
          <a:prstGeom prst="rect">
            <a:avLst/>
          </a:prstGeom>
          <a:solidFill>
            <a:srgbClr val="04D48A"/>
          </a:solidFill>
          <a:ln>
            <a:gradFill>
              <a:gsLst>
                <a:gs pos="0">
                  <a:schemeClr val="bg1"/>
                </a:gs>
                <a:gs pos="74000">
                  <a:srgbClr val="04D48A"/>
                </a:gs>
                <a:gs pos="83000">
                  <a:srgbClr val="04D48A"/>
                </a:gs>
                <a:gs pos="100000">
                  <a:srgbClr val="04D48A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FCF3CBA-F763-1148-B4FD-B0870C8E1E75}"/>
              </a:ext>
            </a:extLst>
          </p:cNvPr>
          <p:cNvSpPr/>
          <p:nvPr/>
        </p:nvSpPr>
        <p:spPr>
          <a:xfrm>
            <a:off x="129310" y="6494144"/>
            <a:ext cx="5627167" cy="45719"/>
          </a:xfrm>
          <a:prstGeom prst="rect">
            <a:avLst/>
          </a:prstGeom>
          <a:solidFill>
            <a:srgbClr val="04D48A"/>
          </a:solidFill>
          <a:ln>
            <a:gradFill>
              <a:gsLst>
                <a:gs pos="26000">
                  <a:schemeClr val="accent1">
                    <a:lumMod val="5000"/>
                    <a:lumOff val="95000"/>
                  </a:schemeClr>
                </a:gs>
                <a:gs pos="70000">
                  <a:srgbClr val="04D48A"/>
                </a:gs>
                <a:gs pos="87000">
                  <a:srgbClr val="04D48A"/>
                </a:gs>
                <a:gs pos="100000">
                  <a:srgbClr val="04D48A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EC7D9D9-6B44-1048-B44A-9E75376D7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7273" y="6254239"/>
            <a:ext cx="397454" cy="479809"/>
          </a:xfrm>
          <a:prstGeom prst="rect">
            <a:avLst/>
          </a:prstGeom>
        </p:spPr>
      </p:pic>
      <p:sp>
        <p:nvSpPr>
          <p:cNvPr id="13" name="Pie 12">
            <a:extLst>
              <a:ext uri="{FF2B5EF4-FFF2-40B4-BE49-F238E27FC236}">
                <a16:creationId xmlns:a16="http://schemas.microsoft.com/office/drawing/2014/main" id="{3BCB6456-A517-E44E-8C7C-9BBD60950FDD}"/>
              </a:ext>
            </a:extLst>
          </p:cNvPr>
          <p:cNvSpPr/>
          <p:nvPr/>
        </p:nvSpPr>
        <p:spPr>
          <a:xfrm>
            <a:off x="129310" y="43228"/>
            <a:ext cx="604684" cy="604684"/>
          </a:xfrm>
          <a:prstGeom prst="pie">
            <a:avLst/>
          </a:prstGeom>
          <a:solidFill>
            <a:schemeClr val="bg1"/>
          </a:solidFill>
          <a:ln>
            <a:solidFill>
              <a:srgbClr val="04D4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20461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778BD29-99B3-844A-B9ED-690573B9E6D7}"/>
              </a:ext>
            </a:extLst>
          </p:cNvPr>
          <p:cNvSpPr/>
          <p:nvPr/>
        </p:nvSpPr>
        <p:spPr>
          <a:xfrm>
            <a:off x="0" y="0"/>
            <a:ext cx="2286000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F7DD56B-2B2D-D841-9933-A814CA8A818A}"/>
              </a:ext>
            </a:extLst>
          </p:cNvPr>
          <p:cNvSpPr txBox="1"/>
          <p:nvPr/>
        </p:nvSpPr>
        <p:spPr>
          <a:xfrm>
            <a:off x="129310" y="2785407"/>
            <a:ext cx="75870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54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”Tvilli</a:t>
            </a:r>
            <a:r>
              <a:rPr lang="sv-SE" sz="5400" b="1" dirty="0">
                <a:solidFill>
                  <a:srgbClr val="04D48A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ngpojkarna”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AD79B7F-F9D4-F246-A26D-ABF21DE95BCC}"/>
              </a:ext>
            </a:extLst>
          </p:cNvPr>
          <p:cNvSpPr/>
          <p:nvPr/>
        </p:nvSpPr>
        <p:spPr>
          <a:xfrm>
            <a:off x="6435524" y="6494144"/>
            <a:ext cx="5627167" cy="45719"/>
          </a:xfrm>
          <a:prstGeom prst="rect">
            <a:avLst/>
          </a:prstGeom>
          <a:solidFill>
            <a:srgbClr val="04D48A"/>
          </a:solidFill>
          <a:ln>
            <a:gradFill>
              <a:gsLst>
                <a:gs pos="0">
                  <a:schemeClr val="bg1"/>
                </a:gs>
                <a:gs pos="74000">
                  <a:srgbClr val="04D48A"/>
                </a:gs>
                <a:gs pos="83000">
                  <a:srgbClr val="04D48A"/>
                </a:gs>
                <a:gs pos="100000">
                  <a:srgbClr val="04D48A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FCF3CBA-F763-1148-B4FD-B0870C8E1E75}"/>
              </a:ext>
            </a:extLst>
          </p:cNvPr>
          <p:cNvSpPr/>
          <p:nvPr/>
        </p:nvSpPr>
        <p:spPr>
          <a:xfrm>
            <a:off x="129310" y="6494144"/>
            <a:ext cx="5627167" cy="45719"/>
          </a:xfrm>
          <a:prstGeom prst="rect">
            <a:avLst/>
          </a:prstGeom>
          <a:solidFill>
            <a:srgbClr val="04D48A"/>
          </a:solidFill>
          <a:ln>
            <a:gradFill>
              <a:gsLst>
                <a:gs pos="26000">
                  <a:schemeClr val="accent1">
                    <a:lumMod val="5000"/>
                    <a:lumOff val="95000"/>
                  </a:schemeClr>
                </a:gs>
                <a:gs pos="70000">
                  <a:srgbClr val="04D48A"/>
                </a:gs>
                <a:gs pos="87000">
                  <a:srgbClr val="04D48A"/>
                </a:gs>
                <a:gs pos="100000">
                  <a:srgbClr val="04D48A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EC7D9D9-6B44-1048-B44A-9E75376D7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7273" y="6254239"/>
            <a:ext cx="397454" cy="479809"/>
          </a:xfrm>
          <a:prstGeom prst="rect">
            <a:avLst/>
          </a:prstGeom>
        </p:spPr>
      </p:pic>
      <p:sp>
        <p:nvSpPr>
          <p:cNvPr id="13" name="Pie 12">
            <a:extLst>
              <a:ext uri="{FF2B5EF4-FFF2-40B4-BE49-F238E27FC236}">
                <a16:creationId xmlns:a16="http://schemas.microsoft.com/office/drawing/2014/main" id="{3BCB6456-A517-E44E-8C7C-9BBD60950FDD}"/>
              </a:ext>
            </a:extLst>
          </p:cNvPr>
          <p:cNvSpPr/>
          <p:nvPr/>
        </p:nvSpPr>
        <p:spPr>
          <a:xfrm>
            <a:off x="129310" y="43228"/>
            <a:ext cx="604684" cy="604684"/>
          </a:xfrm>
          <a:prstGeom prst="pie">
            <a:avLst/>
          </a:prstGeom>
          <a:solidFill>
            <a:schemeClr val="bg1"/>
          </a:solidFill>
          <a:ln>
            <a:solidFill>
              <a:srgbClr val="04D4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69627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778BD29-99B3-844A-B9ED-690573B9E6D7}"/>
              </a:ext>
            </a:extLst>
          </p:cNvPr>
          <p:cNvSpPr/>
          <p:nvPr/>
        </p:nvSpPr>
        <p:spPr>
          <a:xfrm>
            <a:off x="0" y="0"/>
            <a:ext cx="2286000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F7DD56B-2B2D-D841-9933-A814CA8A818A}"/>
              </a:ext>
            </a:extLst>
          </p:cNvPr>
          <p:cNvSpPr txBox="1"/>
          <p:nvPr/>
        </p:nvSpPr>
        <p:spPr>
          <a:xfrm>
            <a:off x="118779" y="2785407"/>
            <a:ext cx="1127539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54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hur r</a:t>
            </a:r>
            <a:r>
              <a:rPr lang="sv-SE" sz="5400" b="1" dirty="0">
                <a:solidFill>
                  <a:srgbClr val="04D48A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eagerar du vid hinder?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AD79B7F-F9D4-F246-A26D-ABF21DE95BCC}"/>
              </a:ext>
            </a:extLst>
          </p:cNvPr>
          <p:cNvSpPr/>
          <p:nvPr/>
        </p:nvSpPr>
        <p:spPr>
          <a:xfrm>
            <a:off x="6435524" y="6494144"/>
            <a:ext cx="5627167" cy="45719"/>
          </a:xfrm>
          <a:prstGeom prst="rect">
            <a:avLst/>
          </a:prstGeom>
          <a:solidFill>
            <a:srgbClr val="04D48A"/>
          </a:solidFill>
          <a:ln>
            <a:gradFill>
              <a:gsLst>
                <a:gs pos="0">
                  <a:schemeClr val="bg1"/>
                </a:gs>
                <a:gs pos="74000">
                  <a:srgbClr val="04D48A"/>
                </a:gs>
                <a:gs pos="83000">
                  <a:srgbClr val="04D48A"/>
                </a:gs>
                <a:gs pos="100000">
                  <a:srgbClr val="04D48A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FCF3CBA-F763-1148-B4FD-B0870C8E1E75}"/>
              </a:ext>
            </a:extLst>
          </p:cNvPr>
          <p:cNvSpPr/>
          <p:nvPr/>
        </p:nvSpPr>
        <p:spPr>
          <a:xfrm>
            <a:off x="129310" y="6494144"/>
            <a:ext cx="5627167" cy="45719"/>
          </a:xfrm>
          <a:prstGeom prst="rect">
            <a:avLst/>
          </a:prstGeom>
          <a:solidFill>
            <a:srgbClr val="04D48A"/>
          </a:solidFill>
          <a:ln>
            <a:gradFill>
              <a:gsLst>
                <a:gs pos="26000">
                  <a:schemeClr val="accent1">
                    <a:lumMod val="5000"/>
                    <a:lumOff val="95000"/>
                  </a:schemeClr>
                </a:gs>
                <a:gs pos="70000">
                  <a:srgbClr val="04D48A"/>
                </a:gs>
                <a:gs pos="87000">
                  <a:srgbClr val="04D48A"/>
                </a:gs>
                <a:gs pos="100000">
                  <a:srgbClr val="04D48A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EC7D9D9-6B44-1048-B44A-9E75376D7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7273" y="6254239"/>
            <a:ext cx="397454" cy="479809"/>
          </a:xfrm>
          <a:prstGeom prst="rect">
            <a:avLst/>
          </a:prstGeom>
        </p:spPr>
      </p:pic>
      <p:sp>
        <p:nvSpPr>
          <p:cNvPr id="13" name="Pie 12">
            <a:extLst>
              <a:ext uri="{FF2B5EF4-FFF2-40B4-BE49-F238E27FC236}">
                <a16:creationId xmlns:a16="http://schemas.microsoft.com/office/drawing/2014/main" id="{3BCB6456-A517-E44E-8C7C-9BBD60950FDD}"/>
              </a:ext>
            </a:extLst>
          </p:cNvPr>
          <p:cNvSpPr/>
          <p:nvPr/>
        </p:nvSpPr>
        <p:spPr>
          <a:xfrm>
            <a:off x="129310" y="43228"/>
            <a:ext cx="604684" cy="604684"/>
          </a:xfrm>
          <a:prstGeom prst="pie">
            <a:avLst/>
          </a:prstGeom>
          <a:solidFill>
            <a:schemeClr val="bg1"/>
          </a:solidFill>
          <a:ln>
            <a:solidFill>
              <a:srgbClr val="04D4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947394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B468154-711E-D541-BDFA-E12CDAA917C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87B9A64-D358-FE41-B026-C9E97B2FD4BA}"/>
              </a:ext>
            </a:extLst>
          </p:cNvPr>
          <p:cNvSpPr txBox="1"/>
          <p:nvPr/>
        </p:nvSpPr>
        <p:spPr>
          <a:xfrm>
            <a:off x="2862615" y="1176947"/>
            <a:ext cx="6466770" cy="36625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96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Resultat</a:t>
            </a:r>
          </a:p>
          <a:p>
            <a:pPr algn="ctr"/>
            <a:r>
              <a:rPr lang="sv-SE" sz="40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vs </a:t>
            </a:r>
          </a:p>
          <a:p>
            <a:pPr algn="ctr"/>
            <a:r>
              <a:rPr lang="sv-SE" sz="96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Ursäkt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70BBE5F-E465-6841-B241-6CE31AF07ED8}"/>
              </a:ext>
            </a:extLst>
          </p:cNvPr>
          <p:cNvSpPr/>
          <p:nvPr/>
        </p:nvSpPr>
        <p:spPr>
          <a:xfrm>
            <a:off x="6435524" y="6494144"/>
            <a:ext cx="562716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3BCF364-3CE6-1840-8A25-4AD5FFA00C5B}"/>
              </a:ext>
            </a:extLst>
          </p:cNvPr>
          <p:cNvSpPr/>
          <p:nvPr/>
        </p:nvSpPr>
        <p:spPr>
          <a:xfrm>
            <a:off x="129310" y="6494144"/>
            <a:ext cx="562716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3761D40-0EFE-CF49-85A3-F3ECA3DF3B5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2601" y="6255289"/>
            <a:ext cx="406799" cy="477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20762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F1738618-5B3D-7349-95F0-1BE9580FAAF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81739" y="0"/>
            <a:ext cx="9210261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713D890D-094B-5640-B0F0-6E380CEA7016}"/>
              </a:ext>
            </a:extLst>
          </p:cNvPr>
          <p:cNvSpPr/>
          <p:nvPr/>
        </p:nvSpPr>
        <p:spPr>
          <a:xfrm>
            <a:off x="-1" y="0"/>
            <a:ext cx="3260035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6616022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B468154-711E-D541-BDFA-E12CDAA917C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87B9A64-D358-FE41-B026-C9E97B2FD4BA}"/>
              </a:ext>
            </a:extLst>
          </p:cNvPr>
          <p:cNvSpPr txBox="1"/>
          <p:nvPr/>
        </p:nvSpPr>
        <p:spPr>
          <a:xfrm>
            <a:off x="417586" y="2646908"/>
            <a:ext cx="1135682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72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Att ta emot feedback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70BBE5F-E465-6841-B241-6CE31AF07ED8}"/>
              </a:ext>
            </a:extLst>
          </p:cNvPr>
          <p:cNvSpPr/>
          <p:nvPr/>
        </p:nvSpPr>
        <p:spPr>
          <a:xfrm>
            <a:off x="6435524" y="6494144"/>
            <a:ext cx="562716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3BCF364-3CE6-1840-8A25-4AD5FFA00C5B}"/>
              </a:ext>
            </a:extLst>
          </p:cNvPr>
          <p:cNvSpPr/>
          <p:nvPr/>
        </p:nvSpPr>
        <p:spPr>
          <a:xfrm>
            <a:off x="129310" y="6494144"/>
            <a:ext cx="562716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3761D40-0EFE-CF49-85A3-F3ECA3DF3B5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2601" y="6255289"/>
            <a:ext cx="406799" cy="477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89924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778BD29-99B3-844A-B9ED-690573B9E6D7}"/>
              </a:ext>
            </a:extLst>
          </p:cNvPr>
          <p:cNvSpPr/>
          <p:nvPr/>
        </p:nvSpPr>
        <p:spPr>
          <a:xfrm>
            <a:off x="0" y="0"/>
            <a:ext cx="2286000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F7DD56B-2B2D-D841-9933-A814CA8A818A}"/>
              </a:ext>
            </a:extLst>
          </p:cNvPr>
          <p:cNvSpPr txBox="1"/>
          <p:nvPr/>
        </p:nvSpPr>
        <p:spPr>
          <a:xfrm>
            <a:off x="236261" y="863356"/>
            <a:ext cx="638931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40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Att ta </a:t>
            </a:r>
            <a:r>
              <a:rPr lang="sv-SE" sz="4000" b="1" dirty="0">
                <a:solidFill>
                  <a:srgbClr val="04D48A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emot feedback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AD79B7F-F9D4-F246-A26D-ABF21DE95BCC}"/>
              </a:ext>
            </a:extLst>
          </p:cNvPr>
          <p:cNvSpPr/>
          <p:nvPr/>
        </p:nvSpPr>
        <p:spPr>
          <a:xfrm>
            <a:off x="6435524" y="6494144"/>
            <a:ext cx="5627167" cy="45719"/>
          </a:xfrm>
          <a:prstGeom prst="rect">
            <a:avLst/>
          </a:prstGeom>
          <a:solidFill>
            <a:srgbClr val="04D48A"/>
          </a:solidFill>
          <a:ln>
            <a:gradFill>
              <a:gsLst>
                <a:gs pos="0">
                  <a:schemeClr val="bg1"/>
                </a:gs>
                <a:gs pos="74000">
                  <a:srgbClr val="04D48A"/>
                </a:gs>
                <a:gs pos="83000">
                  <a:srgbClr val="04D48A"/>
                </a:gs>
                <a:gs pos="100000">
                  <a:srgbClr val="04D48A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FCF3CBA-F763-1148-B4FD-B0870C8E1E75}"/>
              </a:ext>
            </a:extLst>
          </p:cNvPr>
          <p:cNvSpPr/>
          <p:nvPr/>
        </p:nvSpPr>
        <p:spPr>
          <a:xfrm>
            <a:off x="129310" y="6494144"/>
            <a:ext cx="5627167" cy="45719"/>
          </a:xfrm>
          <a:prstGeom prst="rect">
            <a:avLst/>
          </a:prstGeom>
          <a:solidFill>
            <a:srgbClr val="04D48A"/>
          </a:solidFill>
          <a:ln>
            <a:gradFill>
              <a:gsLst>
                <a:gs pos="26000">
                  <a:schemeClr val="accent1">
                    <a:lumMod val="5000"/>
                    <a:lumOff val="95000"/>
                  </a:schemeClr>
                </a:gs>
                <a:gs pos="70000">
                  <a:srgbClr val="04D48A"/>
                </a:gs>
                <a:gs pos="87000">
                  <a:srgbClr val="04D48A"/>
                </a:gs>
                <a:gs pos="100000">
                  <a:srgbClr val="04D48A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EC7D9D9-6B44-1048-B44A-9E75376D7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7273" y="6254239"/>
            <a:ext cx="397454" cy="479809"/>
          </a:xfrm>
          <a:prstGeom prst="rect">
            <a:avLst/>
          </a:prstGeom>
        </p:spPr>
      </p:pic>
      <p:sp>
        <p:nvSpPr>
          <p:cNvPr id="13" name="Pie 12">
            <a:extLst>
              <a:ext uri="{FF2B5EF4-FFF2-40B4-BE49-F238E27FC236}">
                <a16:creationId xmlns:a16="http://schemas.microsoft.com/office/drawing/2014/main" id="{3BCB6456-A517-E44E-8C7C-9BBD60950FDD}"/>
              </a:ext>
            </a:extLst>
          </p:cNvPr>
          <p:cNvSpPr/>
          <p:nvPr/>
        </p:nvSpPr>
        <p:spPr>
          <a:xfrm>
            <a:off x="129310" y="43228"/>
            <a:ext cx="604684" cy="604684"/>
          </a:xfrm>
          <a:prstGeom prst="pie">
            <a:avLst/>
          </a:prstGeom>
          <a:solidFill>
            <a:schemeClr val="bg1"/>
          </a:solidFill>
          <a:ln>
            <a:solidFill>
              <a:srgbClr val="04D4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B853609-93F0-9642-94A5-BF5F6BC5233A}"/>
              </a:ext>
            </a:extLst>
          </p:cNvPr>
          <p:cNvSpPr txBox="1"/>
          <p:nvPr/>
        </p:nvSpPr>
        <p:spPr bwMode="auto">
          <a:xfrm>
            <a:off x="2001259" y="1853034"/>
            <a:ext cx="10296757" cy="31700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616F40"/>
            </a:prstShdw>
          </a:effectLst>
        </p:spPr>
        <p:txBody>
          <a:bodyPr wrap="square" numCol="1" rtlCol="0">
            <a:spAutoFit/>
          </a:bodyPr>
          <a:lstStyle/>
          <a:p>
            <a:pPr marL="285750" indent="-285750">
              <a:spcBef>
                <a:spcPct val="5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4000" b="1" dirty="0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Vad innebär feedback för dig?</a:t>
            </a:r>
          </a:p>
          <a:p>
            <a:pPr marL="285750" indent="-285750">
              <a:spcBef>
                <a:spcPct val="5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4000" b="1" dirty="0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Vad är dina tankar om feedback?</a:t>
            </a:r>
          </a:p>
          <a:p>
            <a:pPr marL="285750" indent="-285750">
              <a:spcBef>
                <a:spcPct val="5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4000" b="1" dirty="0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Hur </a:t>
            </a:r>
            <a:r>
              <a:rPr lang="sv-SE" sz="4000" b="1" dirty="0" err="1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kAN</a:t>
            </a:r>
            <a:r>
              <a:rPr lang="sv-SE" sz="4000" b="1" dirty="0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 DU ANVÄNDA DIG av feedbacken du får?</a:t>
            </a:r>
          </a:p>
        </p:txBody>
      </p:sp>
    </p:spTree>
    <p:extLst>
      <p:ext uri="{BB962C8B-B14F-4D97-AF65-F5344CB8AC3E}">
        <p14:creationId xmlns:p14="http://schemas.microsoft.com/office/powerpoint/2010/main" val="816603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B468154-711E-D541-BDFA-E12CDAA917C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87B9A64-D358-FE41-B026-C9E97B2FD4BA}"/>
              </a:ext>
            </a:extLst>
          </p:cNvPr>
          <p:cNvSpPr txBox="1"/>
          <p:nvPr/>
        </p:nvSpPr>
        <p:spPr>
          <a:xfrm>
            <a:off x="1790975" y="2227398"/>
            <a:ext cx="8610049" cy="18004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111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Martyric Personal Use Only" pitchFamily="2" charset="77"/>
              </a:rPr>
              <a:t>Vad är GRIT?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70BBE5F-E465-6841-B241-6CE31AF07ED8}"/>
              </a:ext>
            </a:extLst>
          </p:cNvPr>
          <p:cNvSpPr/>
          <p:nvPr/>
        </p:nvSpPr>
        <p:spPr>
          <a:xfrm>
            <a:off x="6435524" y="6494144"/>
            <a:ext cx="562716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3BCF364-3CE6-1840-8A25-4AD5FFA00C5B}"/>
              </a:ext>
            </a:extLst>
          </p:cNvPr>
          <p:cNvSpPr/>
          <p:nvPr/>
        </p:nvSpPr>
        <p:spPr>
          <a:xfrm>
            <a:off x="129310" y="6494144"/>
            <a:ext cx="562716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BEA9A07-714C-994B-987C-17FD8DCFBF1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2601" y="6255289"/>
            <a:ext cx="406799" cy="477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01859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3" name="Gruppera"/>
          <p:cNvGrpSpPr/>
          <p:nvPr/>
        </p:nvGrpSpPr>
        <p:grpSpPr>
          <a:xfrm>
            <a:off x="3304078" y="1815027"/>
            <a:ext cx="2539873" cy="3512720"/>
            <a:chOff x="-447" y="-12701"/>
            <a:chExt cx="3612263" cy="4995867"/>
          </a:xfrm>
        </p:grpSpPr>
        <p:pic>
          <p:nvPicPr>
            <p:cNvPr id="119" name="Div_Keynote_2017 2.png" descr="Div_Keynote_2017 2.png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7799" y="1504222"/>
              <a:ext cx="2554017" cy="3478944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20" name="Rund pratbubbla" descr="Rund pratbubbla"/>
            <p:cNvPicPr>
              <a:picLocks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-447" y="-12701"/>
              <a:ext cx="2167335" cy="1535736"/>
            </a:xfrm>
            <a:prstGeom prst="rect">
              <a:avLst/>
            </a:prstGeom>
            <a:effectLst/>
          </p:spPr>
        </p:pic>
        <p:sp>
          <p:nvSpPr>
            <p:cNvPr id="122" name="-Beror inte på mig…"/>
            <p:cNvSpPr txBox="1"/>
            <p:nvPr/>
          </p:nvSpPr>
          <p:spPr>
            <a:xfrm>
              <a:off x="115188" y="277550"/>
              <a:ext cx="2002690" cy="80222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35719" tIns="35719" rIns="35719" bIns="35719" numCol="1" anchor="ctr">
              <a:spAutoFit/>
            </a:bodyPr>
            <a:lstStyle/>
            <a:p>
              <a:pPr>
                <a:lnSpc>
                  <a:spcPct val="120000"/>
                </a:lnSpc>
                <a:defRPr sz="1600" i="1"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r>
                <a:rPr sz="1400" dirty="0">
                  <a:latin typeface="MM Text Pro" pitchFamily="34" charset="0"/>
                </a:rPr>
                <a:t>-</a:t>
              </a:r>
              <a:r>
                <a:rPr sz="1400" dirty="0" err="1">
                  <a:latin typeface="MM Text Pro" pitchFamily="34" charset="0"/>
                </a:rPr>
                <a:t>Beror</a:t>
              </a:r>
              <a:r>
                <a:rPr sz="1400" dirty="0">
                  <a:latin typeface="MM Text Pro" pitchFamily="34" charset="0"/>
                </a:rPr>
                <a:t> </a:t>
              </a:r>
              <a:r>
                <a:rPr sz="1400" dirty="0" err="1">
                  <a:latin typeface="MM Text Pro" pitchFamily="34" charset="0"/>
                </a:rPr>
                <a:t>inte</a:t>
              </a:r>
              <a:r>
                <a:rPr sz="1400" dirty="0">
                  <a:latin typeface="MM Text Pro" pitchFamily="34" charset="0"/>
                </a:rPr>
                <a:t> på </a:t>
              </a:r>
              <a:r>
                <a:rPr sz="1400" dirty="0" err="1">
                  <a:latin typeface="MM Text Pro" pitchFamily="34" charset="0"/>
                </a:rPr>
                <a:t>mig</a:t>
              </a:r>
              <a:endParaRPr sz="1400" dirty="0">
                <a:latin typeface="MM Text Pro" pitchFamily="34" charset="0"/>
              </a:endParaRPr>
            </a:p>
            <a:p>
              <a:pPr>
                <a:lnSpc>
                  <a:spcPct val="120000"/>
                </a:lnSpc>
                <a:defRPr sz="1600" i="1"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r>
                <a:rPr sz="1400" dirty="0">
                  <a:latin typeface="MM Text Pro" pitchFamily="34" charset="0"/>
                </a:rPr>
                <a:t>Jag är </a:t>
              </a:r>
              <a:r>
                <a:rPr sz="1400" dirty="0" err="1">
                  <a:latin typeface="MM Text Pro" pitchFamily="34" charset="0"/>
                </a:rPr>
                <a:t>inte</a:t>
              </a:r>
              <a:r>
                <a:rPr sz="1400" dirty="0">
                  <a:latin typeface="MM Text Pro" pitchFamily="34" charset="0"/>
                </a:rPr>
                <a:t> </a:t>
              </a:r>
              <a:r>
                <a:rPr sz="1400" dirty="0" err="1">
                  <a:latin typeface="MM Text Pro" pitchFamily="34" charset="0"/>
                </a:rPr>
                <a:t>ansvarig</a:t>
              </a:r>
              <a:r>
                <a:rPr sz="1400" dirty="0">
                  <a:latin typeface="MM Text Pro" pitchFamily="34" charset="0"/>
                </a:rPr>
                <a:t>.</a:t>
              </a:r>
            </a:p>
          </p:txBody>
        </p:sp>
      </p:grpSp>
      <p:grpSp>
        <p:nvGrpSpPr>
          <p:cNvPr id="128" name="Gruppera"/>
          <p:cNvGrpSpPr/>
          <p:nvPr/>
        </p:nvGrpSpPr>
        <p:grpSpPr>
          <a:xfrm>
            <a:off x="4799549" y="988071"/>
            <a:ext cx="2551310" cy="3595583"/>
            <a:chOff x="-12713" y="-12702"/>
            <a:chExt cx="3628527" cy="5113717"/>
          </a:xfrm>
        </p:grpSpPr>
        <p:pic>
          <p:nvPicPr>
            <p:cNvPr id="126" name="Rund pratbubbla" descr="Rund pratbubbla"/>
            <p:cNvPicPr>
              <a:picLocks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-12713" y="-12702"/>
              <a:ext cx="2304257" cy="1795569"/>
            </a:xfrm>
            <a:prstGeom prst="rect">
              <a:avLst/>
            </a:prstGeom>
            <a:effectLst/>
          </p:spPr>
        </p:pic>
        <p:pic>
          <p:nvPicPr>
            <p:cNvPr id="124" name="Div_Keynote_2017 3.png" descr="Div_Keynote_2017 3.png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11544" y="1733236"/>
              <a:ext cx="2304270" cy="336777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25" name="Gruppera"/>
            <p:cNvSpPr txBox="1"/>
            <p:nvPr/>
          </p:nvSpPr>
          <p:spPr>
            <a:xfrm>
              <a:off x="148291" y="183890"/>
              <a:ext cx="2209530" cy="119891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35719" tIns="35719" rIns="35719" bIns="35719" numCol="1" anchor="ctr">
              <a:noAutofit/>
            </a:bodyPr>
            <a:lstStyle>
              <a:lvl1pPr>
                <a:lnSpc>
                  <a:spcPct val="120000"/>
                </a:lnSpc>
                <a:defRPr sz="1600" i="1">
                  <a:latin typeface="Century Gothic"/>
                  <a:ea typeface="Century Gothic"/>
                  <a:cs typeface="Century Gothic"/>
                  <a:sym typeface="Century Gothic"/>
                </a:defRPr>
              </a:lvl1pPr>
            </a:lstStyle>
            <a:p>
              <a:r>
                <a:rPr sz="1400" dirty="0">
                  <a:latin typeface="MM Text Pro" pitchFamily="34" charset="0"/>
                </a:rPr>
                <a:t>-Det är </a:t>
              </a:r>
              <a:r>
                <a:rPr sz="1400" dirty="0" err="1">
                  <a:latin typeface="MM Text Pro" pitchFamily="34" charset="0"/>
                </a:rPr>
                <a:t>sant</a:t>
              </a:r>
              <a:r>
                <a:rPr sz="1400" dirty="0">
                  <a:latin typeface="MM Text Pro" pitchFamily="34" charset="0"/>
                </a:rPr>
                <a:t>, men…</a:t>
              </a:r>
            </a:p>
          </p:txBody>
        </p:sp>
      </p:grpSp>
      <p:grpSp>
        <p:nvGrpSpPr>
          <p:cNvPr id="133" name="Gruppera"/>
          <p:cNvGrpSpPr/>
          <p:nvPr/>
        </p:nvGrpSpPr>
        <p:grpSpPr>
          <a:xfrm>
            <a:off x="1561153" y="2504757"/>
            <a:ext cx="2549568" cy="3680980"/>
            <a:chOff x="-659474" y="2403"/>
            <a:chExt cx="3626052" cy="5235170"/>
          </a:xfrm>
        </p:grpSpPr>
        <p:pic>
          <p:nvPicPr>
            <p:cNvPr id="131" name="Rund pratbubbla" descr="Rund pratbubbla"/>
            <p:cNvPicPr>
              <a:picLocks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-659474" y="2403"/>
              <a:ext cx="2195275" cy="1742574"/>
            </a:xfrm>
            <a:prstGeom prst="rect">
              <a:avLst/>
            </a:prstGeom>
            <a:effectLst/>
          </p:spPr>
        </p:pic>
        <p:pic>
          <p:nvPicPr>
            <p:cNvPr id="129" name="Div_Keynote_2017.png" descr="Div_Keynote_2017.png"/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2307" y="1559604"/>
              <a:ext cx="2304271" cy="367796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30" name="Gruppera"/>
            <p:cNvSpPr txBox="1"/>
            <p:nvPr/>
          </p:nvSpPr>
          <p:spPr>
            <a:xfrm>
              <a:off x="-442459" y="206988"/>
              <a:ext cx="2209530" cy="119891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35719" tIns="35719" rIns="35719" bIns="35719" numCol="1" anchor="ctr">
              <a:noAutofit/>
            </a:bodyPr>
            <a:lstStyle/>
            <a:p>
              <a:pPr>
                <a:lnSpc>
                  <a:spcPct val="120000"/>
                </a:lnSpc>
                <a:defRPr sz="1600" i="1"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r>
                <a:rPr sz="1400" dirty="0">
                  <a:latin typeface="MM Text Pro" pitchFamily="34" charset="0"/>
                </a:rPr>
                <a:t>-Det </a:t>
              </a:r>
              <a:r>
                <a:rPr sz="1400" dirty="0" err="1">
                  <a:latin typeface="MM Text Pro" pitchFamily="34" charset="0"/>
                </a:rPr>
                <a:t>rör</a:t>
              </a:r>
              <a:r>
                <a:rPr sz="1400" dirty="0">
                  <a:latin typeface="MM Text Pro" pitchFamily="34" charset="0"/>
                </a:rPr>
                <a:t> </a:t>
              </a:r>
              <a:r>
                <a:rPr sz="1400" dirty="0" err="1">
                  <a:latin typeface="MM Text Pro" pitchFamily="34" charset="0"/>
                </a:rPr>
                <a:t>inte</a:t>
              </a:r>
              <a:r>
                <a:rPr sz="1400" dirty="0">
                  <a:latin typeface="MM Text Pro" pitchFamily="34" charset="0"/>
                </a:rPr>
                <a:t> </a:t>
              </a:r>
              <a:r>
                <a:rPr sz="1400" dirty="0" err="1">
                  <a:latin typeface="MM Text Pro" pitchFamily="34" charset="0"/>
                </a:rPr>
                <a:t>mig</a:t>
              </a:r>
              <a:r>
                <a:rPr sz="1400" dirty="0">
                  <a:latin typeface="MM Text Pro" pitchFamily="34" charset="0"/>
                </a:rPr>
                <a:t>!</a:t>
              </a:r>
            </a:p>
            <a:p>
              <a:pPr>
                <a:lnSpc>
                  <a:spcPct val="120000"/>
                </a:lnSpc>
                <a:defRPr sz="1600" i="1"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r>
                <a:rPr sz="1400" dirty="0">
                  <a:latin typeface="MM Text Pro" pitchFamily="34" charset="0"/>
                </a:rPr>
                <a:t>-</a:t>
              </a:r>
              <a:r>
                <a:rPr sz="1400" dirty="0" err="1">
                  <a:latin typeface="MM Text Pro" pitchFamily="34" charset="0"/>
                </a:rPr>
                <a:t>Nej</a:t>
              </a:r>
              <a:r>
                <a:rPr sz="1400" dirty="0">
                  <a:latin typeface="MM Text Pro" pitchFamily="34" charset="0"/>
                </a:rPr>
                <a:t>, </a:t>
              </a:r>
              <a:r>
                <a:rPr sz="1400" dirty="0" err="1">
                  <a:latin typeface="MM Text Pro" pitchFamily="34" charset="0"/>
                </a:rPr>
                <a:t>så</a:t>
              </a:r>
              <a:r>
                <a:rPr sz="1400" dirty="0">
                  <a:latin typeface="MM Text Pro" pitchFamily="34" charset="0"/>
                </a:rPr>
                <a:t> </a:t>
              </a:r>
              <a:r>
                <a:rPr sz="1400" dirty="0" err="1">
                  <a:latin typeface="MM Text Pro" pitchFamily="34" charset="0"/>
                </a:rPr>
                <a:t>kan</a:t>
              </a:r>
              <a:r>
                <a:rPr sz="1400" dirty="0">
                  <a:latin typeface="MM Text Pro" pitchFamily="34" charset="0"/>
                </a:rPr>
                <a:t> det </a:t>
              </a:r>
            </a:p>
            <a:p>
              <a:pPr>
                <a:lnSpc>
                  <a:spcPct val="120000"/>
                </a:lnSpc>
                <a:defRPr sz="1600" i="1"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r>
                <a:rPr sz="1400" dirty="0" err="1">
                  <a:latin typeface="MM Text Pro" pitchFamily="34" charset="0"/>
                </a:rPr>
                <a:t>inte</a:t>
              </a:r>
              <a:r>
                <a:rPr sz="1400" dirty="0">
                  <a:latin typeface="MM Text Pro" pitchFamily="34" charset="0"/>
                </a:rPr>
                <a:t> </a:t>
              </a:r>
              <a:r>
                <a:rPr sz="1400" dirty="0" err="1">
                  <a:latin typeface="MM Text Pro" pitchFamily="34" charset="0"/>
                </a:rPr>
                <a:t>vara</a:t>
              </a:r>
              <a:r>
                <a:rPr sz="1400" dirty="0">
                  <a:latin typeface="MM Text Pro" pitchFamily="34" charset="0"/>
                </a:rPr>
                <a:t>!</a:t>
              </a:r>
            </a:p>
          </p:txBody>
        </p:sp>
      </p:grpSp>
      <p:pic>
        <p:nvPicPr>
          <p:cNvPr id="134" name="Div_Keynote_2017 4.png" descr="Div_Keynote_2017 4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0523" y="353780"/>
            <a:ext cx="8526628" cy="639185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9" name="Gruppera"/>
          <p:cNvGrpSpPr/>
          <p:nvPr/>
        </p:nvGrpSpPr>
        <p:grpSpPr>
          <a:xfrm>
            <a:off x="6294870" y="300485"/>
            <a:ext cx="2515820" cy="3564142"/>
            <a:chOff x="-12713" y="-12701"/>
            <a:chExt cx="3578053" cy="5069001"/>
          </a:xfrm>
        </p:grpSpPr>
        <p:pic>
          <p:nvPicPr>
            <p:cNvPr id="137" name="Rund pratbubbla" descr="Rund pratbubbla"/>
            <p:cNvPicPr>
              <a:picLocks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-12713" y="-12701"/>
              <a:ext cx="2304257" cy="1795569"/>
            </a:xfrm>
            <a:prstGeom prst="rect">
              <a:avLst/>
            </a:prstGeom>
            <a:effectLst/>
          </p:spPr>
        </p:pic>
        <p:pic>
          <p:nvPicPr>
            <p:cNvPr id="135" name="Div_Keynote_2017 6.png" descr="Div_Keynote_2017 6.png"/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21609" y="1171558"/>
              <a:ext cx="2043731" cy="388474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36" name="Gruppera"/>
            <p:cNvSpPr txBox="1"/>
            <p:nvPr/>
          </p:nvSpPr>
          <p:spPr>
            <a:xfrm>
              <a:off x="220251" y="138709"/>
              <a:ext cx="2209530" cy="119891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35719" tIns="35719" rIns="35719" bIns="35719" numCol="1" anchor="ctr">
              <a:noAutofit/>
            </a:bodyPr>
            <a:lstStyle>
              <a:lvl1pPr>
                <a:lnSpc>
                  <a:spcPct val="120000"/>
                </a:lnSpc>
                <a:defRPr sz="1600" i="1">
                  <a:latin typeface="Century Gothic"/>
                  <a:ea typeface="Century Gothic"/>
                  <a:cs typeface="Century Gothic"/>
                  <a:sym typeface="Century Gothic"/>
                </a:defRPr>
              </a:lvl1pPr>
            </a:lstStyle>
            <a:p>
              <a:r>
                <a:rPr sz="1400" dirty="0" err="1">
                  <a:latin typeface="MM Headline Pro" panose="020B0906030500020204" pitchFamily="34" charset="0"/>
                </a:rPr>
                <a:t>Accepterar</a:t>
              </a:r>
              <a:r>
                <a:rPr sz="1400" dirty="0">
                  <a:latin typeface="MM Headline Pro" panose="020B0906030500020204" pitchFamily="34" charset="0"/>
                </a:rPr>
                <a:t> </a:t>
              </a:r>
              <a:r>
                <a:rPr sz="1400" dirty="0" err="1">
                  <a:latin typeface="MM Headline Pro" panose="020B0906030500020204" pitchFamily="34" charset="0"/>
                </a:rPr>
                <a:t>fakta</a:t>
              </a:r>
              <a:endParaRPr sz="1400" dirty="0">
                <a:latin typeface="MM Headline Pro" panose="020B0906030500020204" pitchFamily="34" charset="0"/>
              </a:endParaRPr>
            </a:p>
          </p:txBody>
        </p:sp>
      </p:grpSp>
      <p:grpSp>
        <p:nvGrpSpPr>
          <p:cNvPr id="144" name="Gruppera"/>
          <p:cNvGrpSpPr/>
          <p:nvPr/>
        </p:nvGrpSpPr>
        <p:grpSpPr>
          <a:xfrm>
            <a:off x="8039696" y="12323"/>
            <a:ext cx="2123657" cy="3859431"/>
            <a:chOff x="-12701" y="-12701"/>
            <a:chExt cx="3020311" cy="5488966"/>
          </a:xfrm>
        </p:grpSpPr>
        <p:pic>
          <p:nvPicPr>
            <p:cNvPr id="140" name="Div_Keynote_2017.png" descr="Div_Keynote_2017.png"/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4579" y="1107678"/>
              <a:ext cx="2253031" cy="436858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41" name="Rund pratbubbla" descr="Rund pratbubbla"/>
            <p:cNvPicPr>
              <a:picLocks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-12701" y="-12701"/>
              <a:ext cx="1676402" cy="1300683"/>
            </a:xfrm>
            <a:prstGeom prst="rect">
              <a:avLst/>
            </a:prstGeom>
            <a:effectLst/>
          </p:spPr>
        </p:pic>
        <p:sp>
          <p:nvSpPr>
            <p:cNvPr id="143" name="Tack!"/>
            <p:cNvSpPr txBox="1"/>
            <p:nvPr/>
          </p:nvSpPr>
          <p:spPr>
            <a:xfrm>
              <a:off x="207236" y="92159"/>
              <a:ext cx="1278071" cy="80295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35719" tIns="35719" rIns="35719" bIns="35719" numCol="1" anchor="ctr">
              <a:spAutoFit/>
            </a:bodyPr>
            <a:lstStyle/>
            <a:p>
              <a:pPr>
                <a:defRPr sz="2100" b="0" i="1"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r>
                <a:rPr b="1" dirty="0">
                  <a:latin typeface="ADAM.CG PRO" pitchFamily="2" charset="77"/>
                </a:rPr>
                <a:t>Tack</a:t>
              </a:r>
              <a:r>
                <a:rPr sz="3200" b="1" dirty="0">
                  <a:latin typeface="MM Headline Pro" pitchFamily="34" charset="0"/>
                </a:rPr>
                <a:t>!</a:t>
              </a:r>
            </a:p>
          </p:txBody>
        </p:sp>
      </p:grp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76575" y="-98731"/>
            <a:ext cx="11334751" cy="886396"/>
          </a:xfrm>
        </p:spPr>
        <p:txBody>
          <a:bodyPr/>
          <a:lstStyle/>
          <a:p>
            <a:r>
              <a:rPr lang="sv-SE" dirty="0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”Feedbacktrappan”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6106391"/>
      </p:ext>
    </p:extLst>
  </p:cSld>
  <p:clrMapOvr>
    <a:masterClrMapping/>
  </p:clrMapOvr>
  <p:timing>
    <p:tnLst>
      <p:par>
        <p:cTn id="1" dur="indefinite" restart="never" fill="hold" nodeType="tmRoot">
          <p:childTnLst>
            <p:seq concurrent="1" prevAc="none" nextAc="seek">
              <p:cTn id="2" dur="indefinite" fill="hold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4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8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22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" grpId="0" animBg="1" advAuto="0"/>
      <p:bldP spid="128" grpId="0" animBg="1" advAuto="0"/>
      <p:bldP spid="133" grpId="0" animBg="1" advAuto="0"/>
      <p:bldP spid="139" grpId="0" animBg="1" advAuto="0"/>
      <p:bldP spid="144" grpId="0" animBg="1" advAuto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778BD29-99B3-844A-B9ED-690573B9E6D7}"/>
              </a:ext>
            </a:extLst>
          </p:cNvPr>
          <p:cNvSpPr/>
          <p:nvPr/>
        </p:nvSpPr>
        <p:spPr>
          <a:xfrm>
            <a:off x="0" y="0"/>
            <a:ext cx="2286000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F7DD56B-2B2D-D841-9933-A814CA8A818A}"/>
              </a:ext>
            </a:extLst>
          </p:cNvPr>
          <p:cNvSpPr txBox="1"/>
          <p:nvPr/>
        </p:nvSpPr>
        <p:spPr>
          <a:xfrm>
            <a:off x="200226" y="326353"/>
            <a:ext cx="529023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72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  Sum</a:t>
            </a:r>
            <a:r>
              <a:rPr lang="sv-SE" sz="7200" b="1" dirty="0">
                <a:solidFill>
                  <a:srgbClr val="04D48A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mering!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AD79B7F-F9D4-F246-A26D-ABF21DE95BCC}"/>
              </a:ext>
            </a:extLst>
          </p:cNvPr>
          <p:cNvSpPr/>
          <p:nvPr/>
        </p:nvSpPr>
        <p:spPr>
          <a:xfrm>
            <a:off x="6435524" y="6494144"/>
            <a:ext cx="5627167" cy="45719"/>
          </a:xfrm>
          <a:prstGeom prst="rect">
            <a:avLst/>
          </a:prstGeom>
          <a:solidFill>
            <a:srgbClr val="04D48A"/>
          </a:solidFill>
          <a:ln>
            <a:gradFill>
              <a:gsLst>
                <a:gs pos="0">
                  <a:schemeClr val="bg1"/>
                </a:gs>
                <a:gs pos="74000">
                  <a:srgbClr val="04D48A"/>
                </a:gs>
                <a:gs pos="83000">
                  <a:srgbClr val="04D48A"/>
                </a:gs>
                <a:gs pos="100000">
                  <a:srgbClr val="04D48A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FCF3CBA-F763-1148-B4FD-B0870C8E1E75}"/>
              </a:ext>
            </a:extLst>
          </p:cNvPr>
          <p:cNvSpPr/>
          <p:nvPr/>
        </p:nvSpPr>
        <p:spPr>
          <a:xfrm>
            <a:off x="129310" y="6494144"/>
            <a:ext cx="5627167" cy="45719"/>
          </a:xfrm>
          <a:prstGeom prst="rect">
            <a:avLst/>
          </a:prstGeom>
          <a:solidFill>
            <a:srgbClr val="04D48A"/>
          </a:solidFill>
          <a:ln>
            <a:gradFill>
              <a:gsLst>
                <a:gs pos="26000">
                  <a:schemeClr val="accent1">
                    <a:lumMod val="5000"/>
                    <a:lumOff val="95000"/>
                  </a:schemeClr>
                </a:gs>
                <a:gs pos="70000">
                  <a:srgbClr val="04D48A"/>
                </a:gs>
                <a:gs pos="87000">
                  <a:srgbClr val="04D48A"/>
                </a:gs>
                <a:gs pos="100000">
                  <a:srgbClr val="04D48A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EC7D9D9-6B44-1048-B44A-9E75376D7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7273" y="6254239"/>
            <a:ext cx="397454" cy="47980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B853609-93F0-9642-94A5-BF5F6BC5233A}"/>
              </a:ext>
            </a:extLst>
          </p:cNvPr>
          <p:cNvSpPr txBox="1"/>
          <p:nvPr/>
        </p:nvSpPr>
        <p:spPr bwMode="auto">
          <a:xfrm>
            <a:off x="2001260" y="1853034"/>
            <a:ext cx="9248630" cy="37548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616F40"/>
            </a:prstShdw>
          </a:effectLst>
        </p:spPr>
        <p:txBody>
          <a:bodyPr wrap="square" numCol="1" rtlCol="0">
            <a:spAutoFit/>
          </a:bodyPr>
          <a:lstStyle/>
          <a:p>
            <a:pPr marL="285750" indent="-285750">
              <a:spcBef>
                <a:spcPct val="5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2800" b="1" dirty="0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Ditt ”varför” är avgörande</a:t>
            </a:r>
          </a:p>
          <a:p>
            <a:pPr marL="285750" indent="-285750">
              <a:spcBef>
                <a:spcPct val="5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2800" b="1" dirty="0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Rätt attityd är avgörande</a:t>
            </a:r>
          </a:p>
          <a:p>
            <a:pPr marL="285750" indent="-285750">
              <a:spcBef>
                <a:spcPct val="5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2800" b="1" dirty="0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Att känna stimulans är avgörande</a:t>
            </a:r>
          </a:p>
          <a:p>
            <a:pPr marL="285750" indent="-285750">
              <a:spcBef>
                <a:spcPct val="5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2800" b="1" dirty="0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Att ta ägandeskap är avgörande</a:t>
            </a:r>
          </a:p>
          <a:p>
            <a:pPr marL="285750" indent="-285750">
              <a:spcBef>
                <a:spcPct val="5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2800" b="1" dirty="0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Att inte ta saker personligt är avgörande</a:t>
            </a:r>
          </a:p>
          <a:p>
            <a:pPr marL="285750" indent="-285750">
              <a:spcBef>
                <a:spcPct val="5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2800" b="1" dirty="0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EGENKÄRLEK ÄR AVGÖRANDE!</a:t>
            </a:r>
          </a:p>
        </p:txBody>
      </p:sp>
    </p:spTree>
    <p:extLst>
      <p:ext uri="{BB962C8B-B14F-4D97-AF65-F5344CB8AC3E}">
        <p14:creationId xmlns:p14="http://schemas.microsoft.com/office/powerpoint/2010/main" val="17841747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D0A2E8B-85D0-5E49-82F7-EAF8241159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D83B4EE-53AA-D84D-B6AD-3E16C1F9533D}"/>
              </a:ext>
            </a:extLst>
          </p:cNvPr>
          <p:cNvSpPr/>
          <p:nvPr/>
        </p:nvSpPr>
        <p:spPr>
          <a:xfrm>
            <a:off x="6902824" y="0"/>
            <a:ext cx="5317457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sv-SE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FD21C3C-1A7A-1B4A-9546-EA66A0F6541B}"/>
              </a:ext>
            </a:extLst>
          </p:cNvPr>
          <p:cNvSpPr txBox="1"/>
          <p:nvPr/>
        </p:nvSpPr>
        <p:spPr>
          <a:xfrm>
            <a:off x="6413173" y="934081"/>
            <a:ext cx="6296758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34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Vad har du lärt dig?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0BDBCB-BB58-4B46-A0F8-FFB347048457}"/>
              </a:ext>
            </a:extLst>
          </p:cNvPr>
          <p:cNvSpPr txBox="1"/>
          <p:nvPr/>
        </p:nvSpPr>
        <p:spPr>
          <a:xfrm>
            <a:off x="7061769" y="295509"/>
            <a:ext cx="5370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b="1" dirty="0">
                <a:solidFill>
                  <a:srgbClr val="04D48A"/>
                </a:solidFill>
                <a:effectLst>
                  <a:outerShdw dist="50800" sx="1000" sy="1000" algn="ctr" rotWithShape="0">
                    <a:srgbClr val="000000"/>
                  </a:outerShdw>
                </a:effectLst>
                <a:latin typeface="Avenir Next" panose="020B0503020202020204" pitchFamily="34" charset="0"/>
              </a:rPr>
              <a:t>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AFDC132-3CCB-2F4E-824A-86D60AE131CD}"/>
              </a:ext>
            </a:extLst>
          </p:cNvPr>
          <p:cNvSpPr txBox="1"/>
          <p:nvPr/>
        </p:nvSpPr>
        <p:spPr bwMode="auto">
          <a:xfrm>
            <a:off x="6915454" y="2472574"/>
            <a:ext cx="5549652" cy="31085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616F40"/>
            </a:prstShdw>
          </a:effectLst>
        </p:spPr>
        <p:txBody>
          <a:bodyPr wrap="square" numCol="1" rtlCol="0">
            <a:spAutoFit/>
          </a:bodyPr>
          <a:lstStyle/>
          <a:p>
            <a:pPr marL="285750" indent="-285750">
              <a:spcBef>
                <a:spcPct val="5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2800" b="1" dirty="0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Vad har varit det bästa med dagen?</a:t>
            </a:r>
          </a:p>
          <a:p>
            <a:pPr marL="285750" indent="-285750">
              <a:spcBef>
                <a:spcPct val="5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2800" b="1" dirty="0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Har du lärt dig något nytt?     I så fall vad?</a:t>
            </a:r>
          </a:p>
          <a:p>
            <a:pPr marL="285750" indent="-285750">
              <a:spcBef>
                <a:spcPct val="5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2800" b="1" dirty="0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Fick du någon ”aha” upplevelse?</a:t>
            </a:r>
          </a:p>
        </p:txBody>
      </p:sp>
    </p:spTree>
    <p:extLst>
      <p:ext uri="{BB962C8B-B14F-4D97-AF65-F5344CB8AC3E}">
        <p14:creationId xmlns:p14="http://schemas.microsoft.com/office/powerpoint/2010/main" val="136589327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6A9038E-4713-3C4C-B28E-53FE66D6AB8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7645" y="5440102"/>
            <a:ext cx="1856711" cy="141789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8D84E9F-6D51-2641-AF9D-F5E0FDBFBEE8}"/>
              </a:ext>
            </a:extLst>
          </p:cNvPr>
          <p:cNvSpPr/>
          <p:nvPr/>
        </p:nvSpPr>
        <p:spPr>
          <a:xfrm>
            <a:off x="6435524" y="6181780"/>
            <a:ext cx="5627167" cy="45719"/>
          </a:xfrm>
          <a:prstGeom prst="rect">
            <a:avLst/>
          </a:prstGeom>
          <a:solidFill>
            <a:srgbClr val="04D48A"/>
          </a:solidFill>
          <a:ln>
            <a:gradFill>
              <a:gsLst>
                <a:gs pos="0">
                  <a:schemeClr val="bg1"/>
                </a:gs>
                <a:gs pos="74000">
                  <a:srgbClr val="04D48A"/>
                </a:gs>
                <a:gs pos="83000">
                  <a:srgbClr val="04D48A"/>
                </a:gs>
                <a:gs pos="100000">
                  <a:srgbClr val="04D48A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5BD71E2-8823-E745-A063-68BD9C15C300}"/>
              </a:ext>
            </a:extLst>
          </p:cNvPr>
          <p:cNvSpPr/>
          <p:nvPr/>
        </p:nvSpPr>
        <p:spPr>
          <a:xfrm>
            <a:off x="129310" y="6181780"/>
            <a:ext cx="5627167" cy="45719"/>
          </a:xfrm>
          <a:prstGeom prst="rect">
            <a:avLst/>
          </a:prstGeom>
          <a:solidFill>
            <a:srgbClr val="04D48A"/>
          </a:solidFill>
          <a:ln>
            <a:gradFill>
              <a:gsLst>
                <a:gs pos="26000">
                  <a:schemeClr val="accent1">
                    <a:lumMod val="5000"/>
                    <a:lumOff val="95000"/>
                  </a:schemeClr>
                </a:gs>
                <a:gs pos="70000">
                  <a:srgbClr val="04D48A"/>
                </a:gs>
                <a:gs pos="87000">
                  <a:srgbClr val="04D48A"/>
                </a:gs>
                <a:gs pos="100000">
                  <a:srgbClr val="04D48A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CC07E86-6745-7644-B1D9-294328CF721C}"/>
              </a:ext>
            </a:extLst>
          </p:cNvPr>
          <p:cNvSpPr txBox="1"/>
          <p:nvPr/>
        </p:nvSpPr>
        <p:spPr bwMode="auto">
          <a:xfrm>
            <a:off x="1953659" y="3154732"/>
            <a:ext cx="10238341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616F40"/>
            </a:prstShdw>
          </a:effectLst>
        </p:spPr>
        <p:txBody>
          <a:bodyPr wrap="square" numCol="1" rtlCol="0">
            <a:spAutoFit/>
          </a:bodyPr>
          <a:lstStyle/>
          <a:p>
            <a:pPr>
              <a:spcBef>
                <a:spcPct val="50000"/>
              </a:spcBef>
              <a:buClr>
                <a:srgbClr val="6D8019"/>
              </a:buClr>
              <a:buFont typeface="Wingdings" pitchFamily="2" charset="2"/>
              <a:buNone/>
            </a:pPr>
            <a:r>
              <a:rPr lang="sv-SE" sz="3600" b="1" dirty="0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   joseph.tourang@lifeenhancement.s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ABACE88-195F-C149-87C7-72F0055E1200}"/>
              </a:ext>
            </a:extLst>
          </p:cNvPr>
          <p:cNvSpPr txBox="1"/>
          <p:nvPr/>
        </p:nvSpPr>
        <p:spPr bwMode="auto">
          <a:xfrm>
            <a:off x="2249201" y="4239753"/>
            <a:ext cx="8121176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616F40"/>
            </a:prstShdw>
          </a:effectLst>
        </p:spPr>
        <p:txBody>
          <a:bodyPr wrap="square" numCol="1" rtlCol="0">
            <a:spAutoFit/>
          </a:bodyPr>
          <a:lstStyle/>
          <a:p>
            <a:pPr>
              <a:spcBef>
                <a:spcPct val="50000"/>
              </a:spcBef>
              <a:buClr>
                <a:srgbClr val="6D8019"/>
              </a:buClr>
              <a:buFont typeface="Wingdings" pitchFamily="2" charset="2"/>
              <a:buNone/>
            </a:pPr>
            <a:r>
              <a:rPr lang="sv-SE" sz="3600" b="1" dirty="0" err="1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Linkedin.com</a:t>
            </a:r>
            <a:r>
              <a:rPr lang="sv-SE" sz="3600" b="1" dirty="0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/</a:t>
            </a:r>
            <a:r>
              <a:rPr lang="sv-SE" sz="3600" b="1" dirty="0" err="1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joseph-tourang</a:t>
            </a:r>
            <a:endParaRPr lang="sv-SE" sz="3600" b="1" dirty="0">
              <a:solidFill>
                <a:srgbClr val="04D48A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ADAM.CG PRO" pitchFamily="2" charset="77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969C10-4EAD-484D-ACC6-9F5AC78D6C54}"/>
              </a:ext>
            </a:extLst>
          </p:cNvPr>
          <p:cNvSpPr/>
          <p:nvPr/>
        </p:nvSpPr>
        <p:spPr>
          <a:xfrm>
            <a:off x="-36799" y="0"/>
            <a:ext cx="2286000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A4E991D-51BA-4144-8CB8-AEB8859E4E95}"/>
              </a:ext>
            </a:extLst>
          </p:cNvPr>
          <p:cNvSpPr txBox="1"/>
          <p:nvPr/>
        </p:nvSpPr>
        <p:spPr>
          <a:xfrm>
            <a:off x="-74047" y="820701"/>
            <a:ext cx="7956602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40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Vill du </a:t>
            </a:r>
            <a:r>
              <a:rPr lang="sv-SE" sz="4000" b="1" dirty="0">
                <a:solidFill>
                  <a:srgbClr val="04D48A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veta mer om </a:t>
            </a:r>
            <a:r>
              <a:rPr lang="sv-SE" sz="9600" b="1" dirty="0" err="1">
                <a:solidFill>
                  <a:srgbClr val="04D48A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Martyric Personal Use Only" pitchFamily="2" charset="77"/>
              </a:rPr>
              <a:t>grit</a:t>
            </a:r>
            <a:r>
              <a:rPr lang="sv-SE" sz="4000" b="1" dirty="0">
                <a:solidFill>
                  <a:srgbClr val="04D48A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?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CCB9BE6-CEF3-D842-9619-DAFE8B7413D7}"/>
              </a:ext>
            </a:extLst>
          </p:cNvPr>
          <p:cNvSpPr txBox="1"/>
          <p:nvPr/>
        </p:nvSpPr>
        <p:spPr bwMode="auto">
          <a:xfrm>
            <a:off x="989934" y="2912449"/>
            <a:ext cx="963725" cy="11079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616F40"/>
            </a:prstShdw>
          </a:effectLst>
        </p:spPr>
        <p:txBody>
          <a:bodyPr wrap="none" numCol="2" rtlCol="0">
            <a:spAutoFit/>
          </a:bodyPr>
          <a:lstStyle/>
          <a:p>
            <a:pPr algn="ctr">
              <a:spcBef>
                <a:spcPct val="50000"/>
              </a:spcBef>
              <a:buClr>
                <a:srgbClr val="6D8019"/>
              </a:buClr>
              <a:buFont typeface="Wingdings" pitchFamily="2" charset="2"/>
              <a:buNone/>
            </a:pPr>
            <a:r>
              <a:rPr lang="sv-SE" sz="6600" b="1" dirty="0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Propaganda" panose="02000503000000020004" pitchFamily="2" charset="0"/>
              </a:rPr>
              <a:t>@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471196D-D517-2C4C-8A75-B972FBFE516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2469" y="4265534"/>
            <a:ext cx="731190" cy="62055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BEB0CB1-FB6F-504D-803C-F66D9BADDB28}"/>
              </a:ext>
            </a:extLst>
          </p:cNvPr>
          <p:cNvSpPr txBox="1"/>
          <p:nvPr/>
        </p:nvSpPr>
        <p:spPr bwMode="auto">
          <a:xfrm>
            <a:off x="2249201" y="5210766"/>
            <a:ext cx="5425398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616F40"/>
            </a:prstShdw>
          </a:effectLst>
        </p:spPr>
        <p:txBody>
          <a:bodyPr wrap="square" numCol="1" rtlCol="0">
            <a:spAutoFit/>
          </a:bodyPr>
          <a:lstStyle/>
          <a:p>
            <a:pPr>
              <a:spcBef>
                <a:spcPct val="50000"/>
              </a:spcBef>
              <a:buClr>
                <a:srgbClr val="6D8019"/>
              </a:buClr>
              <a:buFont typeface="Wingdings" pitchFamily="2" charset="2"/>
              <a:buNone/>
            </a:pPr>
            <a:r>
              <a:rPr lang="sv-SE" sz="3600" b="1" dirty="0">
                <a:solidFill>
                  <a:srgbClr val="04D48A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Lifeenhancement.se</a:t>
            </a:r>
          </a:p>
        </p:txBody>
      </p:sp>
    </p:spTree>
    <p:extLst>
      <p:ext uri="{BB962C8B-B14F-4D97-AF65-F5344CB8AC3E}">
        <p14:creationId xmlns:p14="http://schemas.microsoft.com/office/powerpoint/2010/main" val="9448523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46F6078-81B7-AB44-8E4E-FC4A11C3415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D91C045-2A3F-7848-94BF-5470B0371B6C}"/>
              </a:ext>
            </a:extLst>
          </p:cNvPr>
          <p:cNvSpPr/>
          <p:nvPr/>
        </p:nvSpPr>
        <p:spPr>
          <a:xfrm>
            <a:off x="6435524" y="6494144"/>
            <a:ext cx="562716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A1B5460-5339-AF43-A595-1C124C99C77F}"/>
              </a:ext>
            </a:extLst>
          </p:cNvPr>
          <p:cNvSpPr/>
          <p:nvPr/>
        </p:nvSpPr>
        <p:spPr>
          <a:xfrm>
            <a:off x="129310" y="6494144"/>
            <a:ext cx="562716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D916415-18EC-5C49-8044-A3FE568E198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2601" y="6255289"/>
            <a:ext cx="406799" cy="47770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0F7847D-7EC0-364B-B8EF-D8570FECD21C}"/>
              </a:ext>
            </a:extLst>
          </p:cNvPr>
          <p:cNvSpPr txBox="1"/>
          <p:nvPr/>
        </p:nvSpPr>
        <p:spPr>
          <a:xfrm>
            <a:off x="3399621" y="859065"/>
            <a:ext cx="5392758" cy="513986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96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Stort tack </a:t>
            </a:r>
          </a:p>
          <a:p>
            <a:pPr algn="ctr"/>
            <a:r>
              <a:rPr lang="sv-SE" sz="96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och</a:t>
            </a:r>
          </a:p>
          <a:p>
            <a:pPr algn="ctr"/>
            <a:r>
              <a:rPr lang="sv-SE" sz="96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Lycka till!</a:t>
            </a:r>
          </a:p>
          <a:p>
            <a:pPr algn="ctr"/>
            <a:endParaRPr lang="sv-SE" sz="4000" b="1" dirty="0">
              <a:solidFill>
                <a:schemeClr val="bg1"/>
              </a:solidFill>
              <a:effectLst>
                <a:outerShdw dist="12700" dir="5400000" sx="101000" sy="101000" algn="t" rotWithShape="0">
                  <a:prstClr val="black">
                    <a:alpha val="44000"/>
                  </a:prstClr>
                </a:outerShdw>
              </a:effectLst>
              <a:latin typeface="Avenir Next" panose="020B05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49762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778BD29-99B3-844A-B9ED-690573B9E6D7}"/>
              </a:ext>
            </a:extLst>
          </p:cNvPr>
          <p:cNvSpPr/>
          <p:nvPr/>
        </p:nvSpPr>
        <p:spPr>
          <a:xfrm>
            <a:off x="0" y="0"/>
            <a:ext cx="2286000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AD79B7F-F9D4-F246-A26D-ABF21DE95BCC}"/>
              </a:ext>
            </a:extLst>
          </p:cNvPr>
          <p:cNvSpPr/>
          <p:nvPr/>
        </p:nvSpPr>
        <p:spPr>
          <a:xfrm>
            <a:off x="6435524" y="6494144"/>
            <a:ext cx="5627167" cy="45719"/>
          </a:xfrm>
          <a:prstGeom prst="rect">
            <a:avLst/>
          </a:prstGeom>
          <a:solidFill>
            <a:srgbClr val="04D48A"/>
          </a:solidFill>
          <a:ln>
            <a:gradFill>
              <a:gsLst>
                <a:gs pos="0">
                  <a:schemeClr val="bg1"/>
                </a:gs>
                <a:gs pos="74000">
                  <a:srgbClr val="04D48A"/>
                </a:gs>
                <a:gs pos="83000">
                  <a:srgbClr val="04D48A"/>
                </a:gs>
                <a:gs pos="100000">
                  <a:srgbClr val="04D48A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FCF3CBA-F763-1148-B4FD-B0870C8E1E75}"/>
              </a:ext>
            </a:extLst>
          </p:cNvPr>
          <p:cNvSpPr/>
          <p:nvPr/>
        </p:nvSpPr>
        <p:spPr>
          <a:xfrm>
            <a:off x="129310" y="6494144"/>
            <a:ext cx="5627167" cy="45719"/>
          </a:xfrm>
          <a:prstGeom prst="rect">
            <a:avLst/>
          </a:prstGeom>
          <a:solidFill>
            <a:srgbClr val="04D48A"/>
          </a:solidFill>
          <a:ln>
            <a:gradFill>
              <a:gsLst>
                <a:gs pos="26000">
                  <a:schemeClr val="accent1">
                    <a:lumMod val="5000"/>
                    <a:lumOff val="95000"/>
                  </a:schemeClr>
                </a:gs>
                <a:gs pos="70000">
                  <a:srgbClr val="04D48A"/>
                </a:gs>
                <a:gs pos="87000">
                  <a:srgbClr val="04D48A"/>
                </a:gs>
                <a:gs pos="100000">
                  <a:srgbClr val="04D48A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EC7D9D9-6B44-1048-B44A-9E75376D7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7273" y="6254239"/>
            <a:ext cx="397454" cy="479809"/>
          </a:xfrm>
          <a:prstGeom prst="rect">
            <a:avLst/>
          </a:prstGeom>
        </p:spPr>
      </p:pic>
      <p:pic>
        <p:nvPicPr>
          <p:cNvPr id="4" name="Picture 3" descr="Qr code&#10;&#10;Description automatically generated with medium confidence">
            <a:extLst>
              <a:ext uri="{FF2B5EF4-FFF2-40B4-BE49-F238E27FC236}">
                <a16:creationId xmlns:a16="http://schemas.microsoft.com/office/drawing/2014/main" id="{43E085C0-1EB8-8340-9A26-8C9E1B84CA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37307" y="491172"/>
            <a:ext cx="5511800" cy="551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7285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778BD29-99B3-844A-B9ED-690573B9E6D7}"/>
              </a:ext>
            </a:extLst>
          </p:cNvPr>
          <p:cNvSpPr/>
          <p:nvPr/>
        </p:nvSpPr>
        <p:spPr>
          <a:xfrm>
            <a:off x="0" y="0"/>
            <a:ext cx="2286000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AD79B7F-F9D4-F246-A26D-ABF21DE95BCC}"/>
              </a:ext>
            </a:extLst>
          </p:cNvPr>
          <p:cNvSpPr/>
          <p:nvPr/>
        </p:nvSpPr>
        <p:spPr>
          <a:xfrm>
            <a:off x="6435524" y="6494144"/>
            <a:ext cx="5627167" cy="45719"/>
          </a:xfrm>
          <a:prstGeom prst="rect">
            <a:avLst/>
          </a:prstGeom>
          <a:solidFill>
            <a:srgbClr val="04D48A"/>
          </a:solidFill>
          <a:ln>
            <a:gradFill>
              <a:gsLst>
                <a:gs pos="0">
                  <a:schemeClr val="bg1"/>
                </a:gs>
                <a:gs pos="74000">
                  <a:srgbClr val="04D48A"/>
                </a:gs>
                <a:gs pos="83000">
                  <a:srgbClr val="04D48A"/>
                </a:gs>
                <a:gs pos="100000">
                  <a:srgbClr val="04D48A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FCF3CBA-F763-1148-B4FD-B0870C8E1E75}"/>
              </a:ext>
            </a:extLst>
          </p:cNvPr>
          <p:cNvSpPr/>
          <p:nvPr/>
        </p:nvSpPr>
        <p:spPr>
          <a:xfrm>
            <a:off x="129310" y="6494144"/>
            <a:ext cx="5627167" cy="45719"/>
          </a:xfrm>
          <a:prstGeom prst="rect">
            <a:avLst/>
          </a:prstGeom>
          <a:solidFill>
            <a:srgbClr val="04D48A"/>
          </a:solidFill>
          <a:ln>
            <a:gradFill>
              <a:gsLst>
                <a:gs pos="26000">
                  <a:schemeClr val="accent1">
                    <a:lumMod val="5000"/>
                    <a:lumOff val="95000"/>
                  </a:schemeClr>
                </a:gs>
                <a:gs pos="70000">
                  <a:srgbClr val="04D48A"/>
                </a:gs>
                <a:gs pos="87000">
                  <a:srgbClr val="04D48A"/>
                </a:gs>
                <a:gs pos="100000">
                  <a:srgbClr val="04D48A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EC7D9D9-6B44-1048-B44A-9E75376D7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7273" y="6254239"/>
            <a:ext cx="397454" cy="47980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9485D72-3F85-DF4C-8F74-71FD30BDC6C3}"/>
              </a:ext>
            </a:extLst>
          </p:cNvPr>
          <p:cNvSpPr/>
          <p:nvPr/>
        </p:nvSpPr>
        <p:spPr>
          <a:xfrm>
            <a:off x="2415308" y="683851"/>
            <a:ext cx="9776692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v-SE" sz="3200" b="1" dirty="0" err="1">
                <a:solidFill>
                  <a:srgbClr val="04D48A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Grit</a:t>
            </a:r>
            <a:r>
              <a:rPr lang="sv-SE" sz="3200" b="1" dirty="0">
                <a:solidFill>
                  <a:srgbClr val="04D48A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 är passion och uthållighet för långsiktiga och meningsfulla mål. Det är förmågan att bestå i något du känner att du brinner för och uthärda när du möter hinder.</a:t>
            </a:r>
          </a:p>
          <a:p>
            <a:endParaRPr lang="sv-SE" sz="3200" b="1" dirty="0">
              <a:solidFill>
                <a:srgbClr val="04D48A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DAM.CG PRO" pitchFamily="2" charset="77"/>
            </a:endParaRPr>
          </a:p>
          <a:p>
            <a:r>
              <a:rPr lang="sv-SE" sz="3200" b="1" dirty="0" err="1">
                <a:solidFill>
                  <a:srgbClr val="04D48A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Grit</a:t>
            </a:r>
            <a:r>
              <a:rPr lang="sv-SE" sz="3200" b="1" dirty="0">
                <a:solidFill>
                  <a:srgbClr val="04D48A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 handlar också Att hålla ut, att hålla fast vid det du lovat dig själv. att fortsätta arbeta hårt även efter svårigheter eller misslyckande</a:t>
            </a:r>
            <a:r>
              <a:rPr lang="sv-SE" sz="3200" dirty="0">
                <a:solidFill>
                  <a:srgbClr val="04D48A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DAM.CG PRO" pitchFamily="2" charset="7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318188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B468154-711E-D541-BDFA-E12CDAA917C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87B9A64-D358-FE41-B026-C9E97B2FD4BA}"/>
              </a:ext>
            </a:extLst>
          </p:cNvPr>
          <p:cNvSpPr txBox="1"/>
          <p:nvPr/>
        </p:nvSpPr>
        <p:spPr>
          <a:xfrm>
            <a:off x="3594674" y="542322"/>
            <a:ext cx="5240987" cy="517064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66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PASSION</a:t>
            </a:r>
          </a:p>
          <a:p>
            <a:pPr algn="ctr"/>
            <a:r>
              <a:rPr lang="sv-SE" sz="66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+</a:t>
            </a:r>
          </a:p>
          <a:p>
            <a:pPr algn="ctr"/>
            <a:r>
              <a:rPr lang="sv-SE" sz="66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SYFTE</a:t>
            </a:r>
          </a:p>
          <a:p>
            <a:pPr algn="ctr"/>
            <a:r>
              <a:rPr lang="sv-SE" sz="66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=</a:t>
            </a:r>
          </a:p>
          <a:p>
            <a:pPr algn="ctr"/>
            <a:r>
              <a:rPr lang="sv-SE" sz="66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PRESTAT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70BBE5F-E465-6841-B241-6CE31AF07ED8}"/>
              </a:ext>
            </a:extLst>
          </p:cNvPr>
          <p:cNvSpPr/>
          <p:nvPr/>
        </p:nvSpPr>
        <p:spPr>
          <a:xfrm>
            <a:off x="6435524" y="6494144"/>
            <a:ext cx="562716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3BCF364-3CE6-1840-8A25-4AD5FFA00C5B}"/>
              </a:ext>
            </a:extLst>
          </p:cNvPr>
          <p:cNvSpPr/>
          <p:nvPr/>
        </p:nvSpPr>
        <p:spPr>
          <a:xfrm>
            <a:off x="129310" y="6494144"/>
            <a:ext cx="562716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2034091-E68C-024E-954F-9975D3AD6EC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2601" y="6255289"/>
            <a:ext cx="406799" cy="477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8261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B468154-711E-D541-BDFA-E12CDAA917C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87B9A64-D358-FE41-B026-C9E97B2FD4BA}"/>
              </a:ext>
            </a:extLst>
          </p:cNvPr>
          <p:cNvSpPr txBox="1"/>
          <p:nvPr/>
        </p:nvSpPr>
        <p:spPr>
          <a:xfrm>
            <a:off x="1103607" y="2527480"/>
            <a:ext cx="9984785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72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ATT JOBBA MED </a:t>
            </a:r>
            <a:r>
              <a:rPr lang="sv-SE" sz="72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Martyric Personal Use Only" pitchFamily="2" charset="77"/>
              </a:rPr>
              <a:t>MÅ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70BBE5F-E465-6841-B241-6CE31AF07ED8}"/>
              </a:ext>
            </a:extLst>
          </p:cNvPr>
          <p:cNvSpPr/>
          <p:nvPr/>
        </p:nvSpPr>
        <p:spPr>
          <a:xfrm>
            <a:off x="6435524" y="6494144"/>
            <a:ext cx="562716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3BCF364-3CE6-1840-8A25-4AD5FFA00C5B}"/>
              </a:ext>
            </a:extLst>
          </p:cNvPr>
          <p:cNvSpPr/>
          <p:nvPr/>
        </p:nvSpPr>
        <p:spPr>
          <a:xfrm>
            <a:off x="129310" y="6494144"/>
            <a:ext cx="562716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3761D40-0EFE-CF49-85A3-F3ECA3DF3B5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2601" y="6255289"/>
            <a:ext cx="406799" cy="477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50577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1356E4C7-E9A3-894F-9EFD-C9277653EEC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5583899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8260260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B468154-711E-D541-BDFA-E12CDAA917C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4D4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87B9A64-D358-FE41-B026-C9E97B2FD4BA}"/>
              </a:ext>
            </a:extLst>
          </p:cNvPr>
          <p:cNvSpPr txBox="1"/>
          <p:nvPr/>
        </p:nvSpPr>
        <p:spPr>
          <a:xfrm>
            <a:off x="2492930" y="1973483"/>
            <a:ext cx="7206139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72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Gör din egen </a:t>
            </a:r>
          </a:p>
          <a:p>
            <a:pPr algn="ctr"/>
            <a:r>
              <a:rPr lang="sv-SE" sz="7200" b="1" dirty="0">
                <a:solidFill>
                  <a:schemeClr val="bg1"/>
                </a:solidFill>
                <a:effectLst>
                  <a:outerShdw dist="12700" dir="5400000" sx="101000" sy="101000" algn="t" rotWithShape="0">
                    <a:prstClr val="black">
                      <a:alpha val="44000"/>
                    </a:prstClr>
                  </a:outerShdw>
                </a:effectLst>
                <a:latin typeface="ADAM.CG PRO" pitchFamily="2" charset="77"/>
              </a:rPr>
              <a:t>Målpyramid!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70BBE5F-E465-6841-B241-6CE31AF07ED8}"/>
              </a:ext>
            </a:extLst>
          </p:cNvPr>
          <p:cNvSpPr/>
          <p:nvPr/>
        </p:nvSpPr>
        <p:spPr>
          <a:xfrm>
            <a:off x="6435524" y="6494144"/>
            <a:ext cx="562716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3BCF364-3CE6-1840-8A25-4AD5FFA00C5B}"/>
              </a:ext>
            </a:extLst>
          </p:cNvPr>
          <p:cNvSpPr/>
          <p:nvPr/>
        </p:nvSpPr>
        <p:spPr>
          <a:xfrm>
            <a:off x="129310" y="6494144"/>
            <a:ext cx="562716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5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3761D40-0EFE-CF49-85A3-F3ECA3DF3B5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2601" y="6255289"/>
            <a:ext cx="406799" cy="477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0642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 bwMode="auto">
        <a:noFill/>
        <a:ln w="9525" algn="ctr">
          <a:noFill/>
          <a:miter lim="800000"/>
          <a:headEnd/>
          <a:tailEnd/>
        </a:ln>
        <a:effectLst>
          <a:prstShdw prst="shdw17" dist="17961" dir="2700000">
            <a:srgbClr val="616F40"/>
          </a:prstShdw>
        </a:effectLst>
      </a:spPr>
      <a:bodyPr wrap="square" numCol="2">
        <a:spAutoFit/>
      </a:bodyPr>
      <a:lstStyle>
        <a:defPPr algn="ctr">
          <a:spcBef>
            <a:spcPct val="50000"/>
          </a:spcBef>
          <a:buClr>
            <a:srgbClr val="6D8019"/>
          </a:buClr>
          <a:buFont typeface="Wingdings" pitchFamily="2" charset="2"/>
          <a:buNone/>
          <a:defRPr b="1" dirty="0" err="1" smtClean="0">
            <a:solidFill>
              <a:srgbClr val="FF0000"/>
            </a:solidFill>
            <a:latin typeface="Avenir Next" panose="020B0503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375</Words>
  <Application>Microsoft Office PowerPoint</Application>
  <PresentationFormat>Widescreen</PresentationFormat>
  <Paragraphs>89</Paragraphs>
  <Slides>34</Slides>
  <Notes>1</Notes>
  <HiddenSlides>5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6" baseType="lpstr">
      <vt:lpstr>ADAM.CG PRO</vt:lpstr>
      <vt:lpstr>Arial</vt:lpstr>
      <vt:lpstr>Avenir Next</vt:lpstr>
      <vt:lpstr>Calibri</vt:lpstr>
      <vt:lpstr>Calibri Light</vt:lpstr>
      <vt:lpstr>Martyric Personal Use Only</vt:lpstr>
      <vt:lpstr>MM Headline Pro</vt:lpstr>
      <vt:lpstr>MM Text Pro</vt:lpstr>
      <vt:lpstr>Propaganda</vt:lpstr>
      <vt:lpstr>Wingdings</vt:lpstr>
      <vt:lpstr>Office Theme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”Feedbacktrappan”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y Tee</dc:creator>
  <cp:lastModifiedBy>Martin Devins</cp:lastModifiedBy>
  <cp:revision>143</cp:revision>
  <dcterms:created xsi:type="dcterms:W3CDTF">2020-04-25T10:02:27Z</dcterms:created>
  <dcterms:modified xsi:type="dcterms:W3CDTF">2022-10-27T13:05:55Z</dcterms:modified>
</cp:coreProperties>
</file>